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.xml" ContentType="application/vnd.openxmlformats-officedocument.presentationml.notesSl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2.xml" ContentType="application/vnd.openxmlformats-officedocument.presentationml.notesSlide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  <p:sldMasterId id="2147483864" r:id="rId5"/>
  </p:sldMasterIdLst>
  <p:notesMasterIdLst>
    <p:notesMasterId r:id="rId11"/>
  </p:notesMasterIdLst>
  <p:handoutMasterIdLst>
    <p:handoutMasterId r:id="rId12"/>
  </p:handoutMasterIdLst>
  <p:sldIdLst>
    <p:sldId id="282" r:id="rId6"/>
    <p:sldId id="272" r:id="rId7"/>
    <p:sldId id="259" r:id="rId8"/>
    <p:sldId id="287" r:id="rId9"/>
    <p:sldId id="263" r:id="rId10"/>
  </p:sldIdLst>
  <p:sldSz cx="12192000" cy="6858000"/>
  <p:notesSz cx="7102475" cy="9388475"/>
  <p:embeddedFontLs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Segoe UI" panose="020B05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2210E16-8D79-8505-F57C-62CAD3E6CDAD}" name="Rowe, Evan" initials="ER" userId="S::Evan.Rowe@ercot.com::d81abe1c-6950-4df8-9373-68ccbd619277" providerId="AD"/>
  <p188:author id="{681943A9-36B9-8CCE-5BB5-53154F9E201A}" name="Springer, Agee" initials="AS" userId="S::Agee.Springer@ercot.com::c70aae34-03cc-4ca4-9dc9-ab0f1f0f7e1f" providerId="AD"/>
  <p188:author id="{80D18AC6-E546-52CB-6160-FA5F628B9FF0}" name="Nicholle Romero" initials="NR" userId="S::Nicholle_Romero@mckinsey.com::4ee983f0-df26-4581-bd1c-3984941e99c5" providerId="AD"/>
  <p188:author id="{2D32DBC7-58D5-BCB9-E75D-2CA4A04571AD}" name="Kang, Sun Wook" initials="SWK" userId="Kang, Sun Wook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65"/>
    <a:srgbClr val="BFBFBF"/>
    <a:srgbClr val="C1F7FF"/>
    <a:srgbClr val="00AEC7"/>
    <a:srgbClr val="FFFFFF"/>
    <a:srgbClr val="FF6565"/>
    <a:srgbClr val="1F8B9D"/>
    <a:srgbClr val="7C858C"/>
    <a:srgbClr val="D9D9D9"/>
    <a:srgbClr val="061F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923" autoAdjust="0"/>
  </p:normalViewPr>
  <p:slideViewPr>
    <p:cSldViewPr snapToGrid="0">
      <p:cViewPr varScale="1">
        <p:scale>
          <a:sx n="95" d="100"/>
          <a:sy n="95" d="100"/>
        </p:scale>
        <p:origin x="1158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9 March 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9 March 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9 March 202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E496D-1142-C9F9-6802-CD9E6BBF1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36457C-71BA-0CBE-765C-6FF3A9641A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016A85-9B6E-0F09-9B38-4057C53D2A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A6204A-3AB9-1C26-827E-FEC1E8D6222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9 March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92A879-B1F6-6E4B-B47B-0E63F0BD05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67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2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image" Target="../media/image6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2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1.emf"/><Relationship Id="rId5" Type="http://schemas.openxmlformats.org/officeDocument/2006/relationships/tags" Target="../tags/tag9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image" Target="../media/image2.png"/><Relationship Id="rId4" Type="http://schemas.openxmlformats.org/officeDocument/2006/relationships/tags" Target="../tags/tag103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8.xml"/><Relationship Id="rId7" Type="http://schemas.openxmlformats.org/officeDocument/2006/relationships/image" Target="../media/image3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0.xml"/><Relationship Id="rId7" Type="http://schemas.openxmlformats.org/officeDocument/2006/relationships/image" Target="../media/image3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1.emf"/><Relationship Id="rId4" Type="http://schemas.openxmlformats.org/officeDocument/2006/relationships/tags" Target="../tags/tag125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3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microsoft.com/office/2007/relationships/hdphoto" Target="../media/hdphoto2.wdp"/><Relationship Id="rId5" Type="http://schemas.openxmlformats.org/officeDocument/2006/relationships/tags" Target="../tags/tag145.xml"/><Relationship Id="rId10" Type="http://schemas.openxmlformats.org/officeDocument/2006/relationships/image" Target="../media/image8.png"/><Relationship Id="rId4" Type="http://schemas.openxmlformats.org/officeDocument/2006/relationships/tags" Target="../tags/tag144.xml"/><Relationship Id="rId9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10" Type="http://schemas.openxmlformats.org/officeDocument/2006/relationships/image" Target="../media/image3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image" Target="../media/image2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.emf"/><Relationship Id="rId5" Type="http://schemas.openxmlformats.org/officeDocument/2006/relationships/tags" Target="../tags/tag15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57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image" Target="../media/image2.pn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image" Target="../media/image1.emf"/><Relationship Id="rId5" Type="http://schemas.openxmlformats.org/officeDocument/2006/relationships/tags" Target="../tags/tag166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2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image" Target="../media/image3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2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1.emf"/><Relationship Id="rId5" Type="http://schemas.openxmlformats.org/officeDocument/2006/relationships/tags" Target="../tags/tag182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81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2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image" Target="../media/image3.emf"/><Relationship Id="rId5" Type="http://schemas.openxmlformats.org/officeDocument/2006/relationships/tags" Target="../tags/tag190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89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microsoft.com/office/2007/relationships/hdphoto" Target="../media/hdphoto1.wdp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7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image" Target="../media/image3.emf"/><Relationship Id="rId5" Type="http://schemas.openxmlformats.org/officeDocument/2006/relationships/tags" Target="../tags/tag198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9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microsoft.com/office/2007/relationships/hdphoto" Target="../media/hdphoto1.wdp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7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1.emf"/><Relationship Id="rId5" Type="http://schemas.openxmlformats.org/officeDocument/2006/relationships/tags" Target="../tags/tag206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05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microsoft.com/office/2007/relationships/hdphoto" Target="../media/hdphoto1.wdp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7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image" Target="../media/image3.emf"/><Relationship Id="rId5" Type="http://schemas.openxmlformats.org/officeDocument/2006/relationships/tags" Target="../tags/tag214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13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22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microsoft.com/office/2007/relationships/hdphoto" Target="../media/hdphoto1.wdp"/><Relationship Id="rId5" Type="http://schemas.openxmlformats.org/officeDocument/2006/relationships/tags" Target="../tags/tag222.xml"/><Relationship Id="rId10" Type="http://schemas.openxmlformats.org/officeDocument/2006/relationships/image" Target="../media/image7.png"/><Relationship Id="rId4" Type="http://schemas.openxmlformats.org/officeDocument/2006/relationships/tags" Target="../tags/tag221.xml"/><Relationship Id="rId9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6.xml"/><Relationship Id="rId7" Type="http://schemas.openxmlformats.org/officeDocument/2006/relationships/image" Target="../media/image3.emf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7.xml"/><Relationship Id="rId9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3.wdp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5.png"/><Relationship Id="rId4" Type="http://schemas.openxmlformats.org/officeDocument/2006/relationships/tags" Target="../tags/tag50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3.emf"/><Relationship Id="rId4" Type="http://schemas.openxmlformats.org/officeDocument/2006/relationships/tags" Target="../tags/tag5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2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1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3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2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1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050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FE2591C-8BA8-0985-8540-1308A3CC521E}"/>
              </a:ext>
            </a:extLst>
          </p:cNvPr>
          <p:cNvSpPr/>
          <p:nvPr userDrawn="1"/>
        </p:nvSpPr>
        <p:spPr>
          <a:xfrm>
            <a:off x="4876800" y="0"/>
            <a:ext cx="7315200" cy="6858000"/>
          </a:xfrm>
          <a:prstGeom prst="rect">
            <a:avLst/>
          </a:prstGeom>
          <a:solidFill>
            <a:srgbClr val="E6EBF0"/>
          </a:solidFill>
          <a:ln>
            <a:noFill/>
          </a:ln>
          <a:effectLst>
            <a:outerShdw blurRad="50800" dist="38100" dir="114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218559" y="4865691"/>
            <a:ext cx="641508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buNone/>
              <a:defRPr lang="en-US" sz="1400" dirty="0"/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19700" y="4092559"/>
            <a:ext cx="641508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sz="200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219700" y="2617296"/>
            <a:ext cx="641508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13ADBB-DE0F-7183-85E7-80DFC275CB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495274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9B216F7-3CA7-D235-9786-F5215D4BE6AB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B6894EF-9EB3-FC69-0490-68F7647DA80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B59841-D29D-7D84-7861-EB268CAD37F7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13C0B2-2F61-1FB2-0CC8-D7FC9D3C511D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5396875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E65F68-C3CB-8E8E-6234-A925A503993F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621CA28-BEC6-5756-44D9-63468A2C084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D5E784E-6ACD-CC91-39CC-51745D27F48F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BF54D00-3936-44A5-ED1C-171B2B286C24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6EBDF7A-659B-013F-5F64-FD452ADFA5E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73593B-27CD-7616-F43E-5DBBB1F79830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0FD042-A5A5-E9CF-CA2E-B1306994ADA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634785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5843DF7-A55C-6964-9FB5-DD493C45C777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0A3F031-A569-D187-DA19-4C9FA609E78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A151E27-707E-3A37-71D4-6CB82B6D069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77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2A02941-735B-29F4-9374-02A67A749217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04EA1B-806C-8140-4087-2F746295969D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7739A3-32AA-CF30-FECE-26E9DC89F796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62AD20-C9BA-5F86-0685-FCD8870FBA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39F79E6-6C4E-90C8-70DE-9C983C4A4006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A1CBD39-F61F-DA1D-30F6-828460FCCB6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115416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B09F6B8-769B-A864-E547-500981F08D06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FED9C4D-8AC9-7C56-EAB0-E78C2331086D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B412C7A-6007-0E9A-8D29-F55D6BBBF979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5E8A2D-D54E-D813-F72A-F0CAB8BE74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43DE8B-4F85-F9C3-B148-488A92D2E93D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91F0BA-6E3D-F62E-4ABF-446AAB4EFF1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243" y="2657337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43682"/>
            <a:ext cx="11277600" cy="51831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/>
        </p:nvSpPr>
        <p:spPr>
          <a:xfrm>
            <a:off x="406400" y="243682"/>
            <a:ext cx="101600" cy="518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40011" y="6553200"/>
            <a:ext cx="8311978" cy="228600"/>
          </a:xfrm>
        </p:spPr>
        <p:txBody>
          <a:bodyPr/>
          <a:lstStyle/>
          <a:p>
            <a:r>
              <a:rPr lang="en-US"/>
              <a:t>Use or disclosure of information contained on this page is subject to the restrictions on the title page.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06400" y="243682"/>
            <a:ext cx="1320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F5400B3-30FC-250E-0E40-F769CD495F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9203" y="6561138"/>
            <a:ext cx="646975" cy="220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fld id="{1D93BD3E-1E9A-4970-A6F7-E7AC52762E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044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181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1ABBFBE-956E-6B56-E4D2-F7A5D9C2CDE6}"/>
              </a:ext>
            </a:extLst>
          </p:cNvPr>
          <p:cNvSpPr/>
          <p:nvPr userDrawn="1"/>
        </p:nvSpPr>
        <p:spPr>
          <a:xfrm>
            <a:off x="4876800" y="0"/>
            <a:ext cx="73152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14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218559" y="4865691"/>
            <a:ext cx="641508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buNone/>
              <a:defRPr lang="en-US" sz="1400" dirty="0"/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219700" y="4092559"/>
            <a:ext cx="641508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>
              <a:buNone/>
              <a:defRPr lang="en-US" sz="200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19700" y="2617296"/>
            <a:ext cx="6415088" cy="13542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D50DE4-AE8E-B30D-8E44-8498C5C0D9E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495274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446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b="0" baseline="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63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446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rtl="0">
              <a:buNone/>
              <a:defRPr lang="en-US" b="0" baseline="0" dirty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D3EB5BE-E526-D7F3-6384-601B149F7968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A0D9055-DC0D-9E77-B768-C3580F5E6A74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782CA480-C55E-5542-4BD5-6E120116E6D2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5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A6BF6C9-3B6D-A6BC-641E-3D41A636D90C}"/>
              </a:ext>
            </a:extLst>
          </p:cNvPr>
          <p:cNvSpPr/>
          <p:nvPr userDrawn="1"/>
        </p:nvSpPr>
        <p:spPr bwMode="white">
          <a:xfrm>
            <a:off x="3176" y="0"/>
            <a:ext cx="12188824" cy="6858006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4F0EA5F-6060-6315-DD1F-36CB5152948F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0D8C1B-1778-E6D9-AA22-578258348FB6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4D6766-2E1D-D5DC-5F05-AC3EC871F4B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4035" y="5382386"/>
            <a:ext cx="1253765" cy="48501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F9D632-D71D-321A-F8FA-42970EABDF95}"/>
              </a:ext>
            </a:extLst>
          </p:cNvPr>
          <p:cNvCxnSpPr>
            <a:cxnSpLocks/>
          </p:cNvCxnSpPr>
          <p:nvPr userDrawn="1"/>
        </p:nvCxnSpPr>
        <p:spPr>
          <a:xfrm>
            <a:off x="779283" y="6"/>
            <a:ext cx="0" cy="51815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19AFCB8-C4C0-B495-CE85-E2CA75B9D6C0}"/>
              </a:ext>
            </a:extLst>
          </p:cNvPr>
          <p:cNvCxnSpPr>
            <a:cxnSpLocks/>
          </p:cNvCxnSpPr>
          <p:nvPr userDrawn="1"/>
        </p:nvCxnSpPr>
        <p:spPr>
          <a:xfrm>
            <a:off x="779282" y="5943600"/>
            <a:ext cx="0" cy="533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A29BD83-CDDC-657C-6A05-5776C00D3AD3}"/>
              </a:ext>
            </a:extLst>
          </p:cNvPr>
          <p:cNvCxnSpPr>
            <a:cxnSpLocks/>
          </p:cNvCxnSpPr>
          <p:nvPr userDrawn="1"/>
        </p:nvCxnSpPr>
        <p:spPr>
          <a:xfrm>
            <a:off x="779282" y="6477005"/>
            <a:ext cx="1141271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44775BD-D07B-6198-5E05-2A33FAF3D2BA}"/>
              </a:ext>
            </a:extLst>
          </p:cNvPr>
          <p:cNvSpPr txBox="1"/>
          <p:nvPr userDrawn="1"/>
        </p:nvSpPr>
        <p:spPr>
          <a:xfrm>
            <a:off x="685800" y="6553200"/>
            <a:ext cx="9359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1"/>
              </a:buClr>
            </a:pPr>
            <a:r>
              <a:rPr lang="en-US" sz="1000" b="1" dirty="0">
                <a:solidFill>
                  <a:schemeClr val="tx1"/>
                </a:solidFill>
              </a:rPr>
              <a:t>PUBLIC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17601" y="4061922"/>
            <a:ext cx="10519663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17601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445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9D47193-B762-116E-3906-F0EF689E053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BA72964-A5AB-5669-DE3B-D223B80C32F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3A4A07-CAF4-8A30-1CB9-5E6D164FAA6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AA5B76-E5AC-A58A-6B1A-72605467A4E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06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A5A7727-5AB1-79A1-A56D-4A2DE5EC63AB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C07BE2D-8A78-BAF3-C818-EF920963DCF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B6AAB35-A5C0-35F4-9AA4-58524F26865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6218C6-EA2A-D651-4E9F-F68C6D522C5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54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05BE378-9D7F-F20C-8CEB-3A7166DB9FDA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77C3B61-7BD0-0EDE-9EA3-982A1F08129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E86794-9927-CD0B-2130-149B8E33A34C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030CC5-CA3F-1EF0-C73F-09EFBED95AC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B4F6C8E-41C3-6F09-AE88-03D31F94DFE6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4D6C2AE-D857-F27B-9F53-55E83C97CBA1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9C7A4AC-C74A-FCAA-B3A0-5B6D91EB4FD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089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C4571D9-ABE1-532E-BE19-A3F0F46BBE10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9927D69-0B7D-09E9-12D5-A5A68682BBB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37F3AC-6301-9861-14CC-FD8911A87C5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604FD3-A713-996F-F520-5FDE0D975617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5396875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9E597B-848E-32D4-BE42-D7979B0A3583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A4FD8FE-1BD4-07E4-0D55-52EA4D4B80A6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0CC2BC3-2DD5-BBFF-A0DD-69208C617CAD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698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508E905-D4F6-A3DE-07F1-B7579DA43F52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0FFFDFD-F851-B4B7-922A-87FCDDC528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511F1D-FCF3-0136-8318-92725DF65634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506838-4B8D-E3BA-5A29-D0B8EA3A8909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634785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E35EA2B7-189C-213B-001E-A1B794D5DE5B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D140A61-596E-EEA1-0BAF-C1D20414DF80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E957CC5-9C44-A60C-D762-2F0C02CD704E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37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9B7E09-8402-16E1-E766-F8B6ECEB9AE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14D9DE3-E6BB-24B0-E8DB-AD0A0C2B82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6899D8-B4D1-7B41-C9E7-C29EEEA69F7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E2A1E7-FD45-4F51-F2B7-DCAA9669666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97D533D4-A1A9-575F-087B-229833B7516C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8ABE7F-9A5F-7C6B-71DF-FF1621FBB6F5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37311A7-814E-C188-38E3-F0755BC3ABFD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780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3C647C9-9EFC-EBB1-54CE-DD6D5F8CC898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3401658-B2DB-D29A-37F5-D443CF4C008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2DB224D-A0E0-D23C-2B38-FDA0385C411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BB6510-1617-F022-3FAB-A8FAB3DFFB2B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880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B6554B8-D11C-FF17-C046-6CBC0ECE36C1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ECDE7F9-67C6-FA83-EFD8-BAFAC9C487F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8183F2-BE82-2FAF-2986-D0CFF0AAAFF8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16298A-D098-8C1B-51ED-99DF186DC6C4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34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21FF2B8-E50E-3E4B-1159-7B1262C8DDC9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F4FEE1-4C97-D435-75F1-02AB4153E929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7A99D0-787D-DF21-2FD2-C743E9958FFC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10B009F-4D8B-248E-9B94-D08943E267A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E50377-83F9-412D-E825-D1DA055A9729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790F8CA-80DF-AD0A-58BE-3FB00D86804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115416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A861D87-C576-D16E-4731-40CBB9000277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AFF6D49-85D8-A690-BB61-86DBD630D3B4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DE58A1-0CC8-6F9C-4734-C8E23081C7E9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D850D9-B5D8-504C-7BFF-DBC89BE7E2B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CC9B53A-3D1F-5763-E3F5-008BAAA6711D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D691D-53E7-CC3A-5CB6-5C76E7ED32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101243" y="2657337"/>
            <a:ext cx="3989513" cy="154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073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588F4971-5E5D-8035-60C6-B80F3F8A7661}"/>
              </a:ext>
            </a:extLst>
          </p:cNvPr>
          <p:cNvSpPr/>
          <p:nvPr userDrawn="1"/>
        </p:nvSpPr>
        <p:spPr bwMode="white">
          <a:xfrm>
            <a:off x="3176" y="0"/>
            <a:ext cx="12188824" cy="6858006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3ED25A-5762-904F-3F92-D7937C715A72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02277B1-FB55-22A2-37BA-32F24F6395BB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17600" y="4061922"/>
            <a:ext cx="10519663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1760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7F3A73C-8DF1-D9F0-0631-1DBAB0EB6CA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35" y="5382386"/>
            <a:ext cx="1253765" cy="48501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6E1389C-9525-BA56-F554-31A26DE35822}"/>
              </a:ext>
            </a:extLst>
          </p:cNvPr>
          <p:cNvCxnSpPr>
            <a:cxnSpLocks/>
          </p:cNvCxnSpPr>
          <p:nvPr userDrawn="1"/>
        </p:nvCxnSpPr>
        <p:spPr>
          <a:xfrm>
            <a:off x="779283" y="6"/>
            <a:ext cx="0" cy="5181594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6FC9CB-1878-A9C1-553E-61246DB85AA6}"/>
              </a:ext>
            </a:extLst>
          </p:cNvPr>
          <p:cNvCxnSpPr>
            <a:cxnSpLocks/>
          </p:cNvCxnSpPr>
          <p:nvPr userDrawn="1"/>
        </p:nvCxnSpPr>
        <p:spPr>
          <a:xfrm>
            <a:off x="779282" y="5943600"/>
            <a:ext cx="0" cy="53340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39009E5-64F2-E6FE-DA65-9E1834004B08}"/>
              </a:ext>
            </a:extLst>
          </p:cNvPr>
          <p:cNvCxnSpPr>
            <a:cxnSpLocks/>
          </p:cNvCxnSpPr>
          <p:nvPr userDrawn="1"/>
        </p:nvCxnSpPr>
        <p:spPr>
          <a:xfrm>
            <a:off x="779282" y="6477005"/>
            <a:ext cx="1141271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319CC41-E482-6B70-8A87-D13CC91C9F8F}"/>
              </a:ext>
            </a:extLst>
          </p:cNvPr>
          <p:cNvSpPr txBox="1"/>
          <p:nvPr userDrawn="1"/>
        </p:nvSpPr>
        <p:spPr>
          <a:xfrm>
            <a:off x="685800" y="6553200"/>
            <a:ext cx="9359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5B6770"/>
                </a:solidFill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0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BEEEC7-2A79-FE89-E8BE-7CB1159DED9D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6B3E2693-730F-29E2-7B7B-E8EE224188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F4F0012-5AC7-2B73-12B0-EEC17114DCCE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A3B581-7381-0B8B-DEC1-A26FF86B4EA0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943747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64C030F-530E-8905-54A9-0AED30BE7B2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9BCBBE3-8503-EFC4-5B12-8BC8C75EA1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060D72B-4D20-11D9-F3C4-2A6ABFBD21B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DC6153-7DC2-2FDF-70EF-C01A47A108E6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89472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B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72052" y="65982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446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25590" y="656858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A76F6AB-E44E-4C53-138B-F673A875C3C5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559D939-7F53-FB62-12D8-A9EC324C27F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40837CC-2FC6-E55D-9DC2-8CF8A7D05346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0DD642-BED9-90A5-881A-D8F28433EE91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3494923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773F8B-7397-F003-8FB2-461216D2DF50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E1B10A6-93F5-6A71-2C6F-0EF50CB31F10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94B9A99-20C1-9528-C03B-35D169248A8C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14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11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17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16.xml"/><Relationship Id="rId28" Type="http://schemas.microsoft.com/office/2007/relationships/hdphoto" Target="../media/hdphoto1.wdp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1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15.xml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882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254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B129ABFC-B9D1-F8E5-1E28-5CFD62D6E898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89F4D41-3A8E-44C7-CB4D-80DE0DE6A204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97F4934-B936-2A19-6F91-4B2BB31D0E7F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4BAA345D-6585-BD21-0323-4D86073911B8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FEDA073-6846-073E-629D-656B6FC8F1EC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4ACE543-6BB7-6A8A-B65B-DEA57F5B656A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07622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88A86FE2-86A3-9303-E7C2-AF9380F2280B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FE29A28C-5474-C59E-053E-6DAC0850E50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34A01A17-1BFD-550E-EB2E-462FC085E6FA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411A1560-CA36-581D-675B-FCC6DE1BD5CD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6A7E84C5-EA08-4537-61F7-28E04EAAE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3F1C3AED-A304-869E-7F45-15E0A66D41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8B3B3C56-0A58-E1C7-897C-F8807D2E5A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DCF6D4D9-4960-DD09-85E9-F8414ACAE23C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EEDB85C7-9239-C4EC-894C-7C0816C48F1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5951E86D-2036-685D-71A7-831017E19E27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A0D7712D-9124-9CE3-D60D-EB11806A9A9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F2446A46-E50A-7F61-E302-8D8FC59FD7A4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25E0120E-DD60-518A-3A21-FD3FBA42BF92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43F36A78-B838-10E6-8192-DCC36FEFF2BD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08DCEDDC-8F12-899F-3946-BBF9EA614F5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083A606F-B864-2221-3276-3427945F490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7B95D596-1A0B-DDF4-FB19-986AEAC0CB4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C5688437-3E14-346D-F54F-F6100BB41FA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94FB8DFB-0A9C-6494-4643-A307312D7DF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42191A02-89D7-EEFF-CEE1-EB17CC3CA20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72C42F94-76B0-7F2A-A581-AB474D716A0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EC083367-9E23-73A1-53BE-DCD38693E7E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AB8FE1F4-36A1-43F6-A64D-E34FC349D72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C9E5D4CD-2FE2-F0DB-BDAE-2FC2DE2C2FB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95846CF1-9D9A-7CCB-2CAF-F2F08D8F534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DB7EA160-082C-1E77-95F7-E81D3C65BD2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CD6B6430-2D08-174F-4A7D-EE4D69CC333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C7E3A130-F38F-0BEC-524D-8AEB60E5E76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C046442-2789-0E2E-60F1-814A815DA24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3D3B845A-3917-D8F2-2572-BFE927D0936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D1FCC5C0-DA74-4AF5-797D-64DEC4D6167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74D5A905-3957-8E36-8E35-3C70974BCBA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1C8CFE46-2CAA-A463-23A3-893058C465E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04181080-24CC-D4FA-04D5-8A2FB7F3213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C1243ADA-154E-D57C-3259-D662DF376CDE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4C4B52E8-9615-BF25-4ED5-A8913C15EF4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72271CAA-1B33-53AB-1F34-CBBEE146FDE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0A00B1AC-1E55-331C-82C5-61A47A9CC3B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35709C0B-FFED-F61E-298C-27A2577A63A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16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9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5274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1" progId="TCLayout.ActiveDocument.1">
                  <p:embed/>
                </p:oleObj>
              </mc:Choice>
              <mc:Fallback>
                <p:oleObj name="think-cell Slide" r:id="rId2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9EB4682-4E2C-6071-8F07-1E3F9095F932}"/>
              </a:ext>
            </a:extLst>
          </p:cNvPr>
          <p:cNvSpPr/>
          <p:nvPr userDrawn="1"/>
        </p:nvSpPr>
        <p:spPr>
          <a:xfrm>
            <a:off x="11379203" y="6477005"/>
            <a:ext cx="711199" cy="381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5F2C7F-C584-34E6-E33E-B1FECBC921BB}"/>
              </a:ext>
            </a:extLst>
          </p:cNvPr>
          <p:cNvSpPr/>
          <p:nvPr userDrawn="1"/>
        </p:nvSpPr>
        <p:spPr>
          <a:xfrm>
            <a:off x="12026174" y="6477000"/>
            <a:ext cx="165825" cy="381000"/>
          </a:xfrm>
          <a:prstGeom prst="rect">
            <a:avLst/>
          </a:prstGeom>
          <a:solidFill>
            <a:srgbClr val="5B6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C0D3CA-4516-DB58-68F9-9812BEFAC6BD}"/>
              </a:ext>
            </a:extLst>
          </p:cNvPr>
          <p:cNvCxnSpPr>
            <a:cxnSpLocks/>
          </p:cNvCxnSpPr>
          <p:nvPr userDrawn="1"/>
        </p:nvCxnSpPr>
        <p:spPr>
          <a:xfrm>
            <a:off x="101600" y="6477000"/>
            <a:ext cx="660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AA66108-94B5-376F-4803-7FB317BE0A6C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2" y="6217199"/>
            <a:ext cx="1196754" cy="4629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65E9B65-DC2E-7AF2-FB24-4039ED606AEF}"/>
              </a:ext>
            </a:extLst>
          </p:cNvPr>
          <p:cNvSpPr txBox="1"/>
          <p:nvPr userDrawn="1"/>
        </p:nvSpPr>
        <p:spPr>
          <a:xfrm>
            <a:off x="101600" y="6553200"/>
            <a:ext cx="47769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cs typeface="+mn-cs"/>
              </a:rPr>
              <a:t>PUBLI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68E5B4E-C7FC-29EF-839F-070E0BE30AC2}"/>
              </a:ext>
            </a:extLst>
          </p:cNvPr>
          <p:cNvCxnSpPr>
            <a:cxnSpLocks/>
          </p:cNvCxnSpPr>
          <p:nvPr userDrawn="1"/>
        </p:nvCxnSpPr>
        <p:spPr>
          <a:xfrm>
            <a:off x="2125589" y="6477006"/>
            <a:ext cx="1006641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07622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4583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44216B6-30B0-F4B4-B1A7-735752A67CAC}"/>
              </a:ext>
            </a:extLst>
          </p:cNvPr>
          <p:cNvGrpSpPr/>
          <p:nvPr userDrawn="1"/>
        </p:nvGrpSpPr>
        <p:grpSpPr>
          <a:xfrm>
            <a:off x="406400" y="172212"/>
            <a:ext cx="1320800" cy="518318"/>
            <a:chOff x="406400" y="243682"/>
            <a:chExt cx="1320800" cy="51831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655431-CF1E-0374-1DCE-D00970A9AE77}"/>
                </a:ext>
              </a:extLst>
            </p:cNvPr>
            <p:cNvSpPr/>
            <p:nvPr/>
          </p:nvSpPr>
          <p:spPr>
            <a:xfrm>
              <a:off x="406400" y="243682"/>
              <a:ext cx="101600" cy="51831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0AFF231-785D-7A76-FA1D-9A6E052E5A44}"/>
                </a:ext>
              </a:extLst>
            </p:cNvPr>
            <p:cNvCxnSpPr/>
            <p:nvPr/>
          </p:nvCxnSpPr>
          <p:spPr>
            <a:xfrm>
              <a:off x="406400" y="243682"/>
              <a:ext cx="1320800" cy="0"/>
            </a:xfrm>
            <a:prstGeom prst="line">
              <a:avLst/>
            </a:prstGeom>
            <a:ln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16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3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10.png"/><Relationship Id="rId5" Type="http://schemas.openxmlformats.org/officeDocument/2006/relationships/tags" Target="../tags/tag234.xml"/><Relationship Id="rId10" Type="http://schemas.openxmlformats.org/officeDocument/2006/relationships/image" Target="../media/image6.emf"/><Relationship Id="rId4" Type="http://schemas.openxmlformats.org/officeDocument/2006/relationships/tags" Target="../tags/tag233.xml"/><Relationship Id="rId9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26" Type="http://schemas.openxmlformats.org/officeDocument/2006/relationships/tags" Target="../tags/tag261.xml"/><Relationship Id="rId39" Type="http://schemas.openxmlformats.org/officeDocument/2006/relationships/image" Target="../media/image17.svg"/><Relationship Id="rId21" Type="http://schemas.openxmlformats.org/officeDocument/2006/relationships/tags" Target="../tags/tag256.xml"/><Relationship Id="rId34" Type="http://schemas.openxmlformats.org/officeDocument/2006/relationships/image" Target="../media/image12.png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0" Type="http://schemas.openxmlformats.org/officeDocument/2006/relationships/tags" Target="../tags/tag255.xml"/><Relationship Id="rId29" Type="http://schemas.openxmlformats.org/officeDocument/2006/relationships/tags" Target="../tags/tag264.xml"/><Relationship Id="rId41" Type="http://schemas.openxmlformats.org/officeDocument/2006/relationships/image" Target="../media/image19.svg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24" Type="http://schemas.openxmlformats.org/officeDocument/2006/relationships/tags" Target="../tags/tag259.xml"/><Relationship Id="rId32" Type="http://schemas.openxmlformats.org/officeDocument/2006/relationships/oleObject" Target="../embeddings/oleObject35.bin"/><Relationship Id="rId37" Type="http://schemas.openxmlformats.org/officeDocument/2006/relationships/image" Target="../media/image15.svg"/><Relationship Id="rId40" Type="http://schemas.openxmlformats.org/officeDocument/2006/relationships/image" Target="../media/image18.png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image" Target="../media/image14.png"/><Relationship Id="rId10" Type="http://schemas.openxmlformats.org/officeDocument/2006/relationships/tags" Target="../tags/tag245.xml"/><Relationship Id="rId19" Type="http://schemas.openxmlformats.org/officeDocument/2006/relationships/tags" Target="../tags/tag254.xml"/><Relationship Id="rId31" Type="http://schemas.openxmlformats.org/officeDocument/2006/relationships/slideLayout" Target="../slideLayouts/slideLayout15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image" Target="../media/image13.svg"/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5" Type="http://schemas.openxmlformats.org/officeDocument/2006/relationships/tags" Target="../tags/tag260.xml"/><Relationship Id="rId33" Type="http://schemas.openxmlformats.org/officeDocument/2006/relationships/image" Target="../media/image11.emf"/><Relationship Id="rId38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18" Type="http://schemas.openxmlformats.org/officeDocument/2006/relationships/image" Target="../media/image11.emf"/><Relationship Id="rId26" Type="http://schemas.openxmlformats.org/officeDocument/2006/relationships/image" Target="../media/image27.svg"/><Relationship Id="rId3" Type="http://schemas.openxmlformats.org/officeDocument/2006/relationships/tags" Target="../tags/tag268.xml"/><Relationship Id="rId21" Type="http://schemas.openxmlformats.org/officeDocument/2006/relationships/image" Target="../media/image22.png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17" Type="http://schemas.openxmlformats.org/officeDocument/2006/relationships/oleObject" Target="../embeddings/oleObject36.bin"/><Relationship Id="rId25" Type="http://schemas.openxmlformats.org/officeDocument/2006/relationships/image" Target="../media/image26.png"/><Relationship Id="rId2" Type="http://schemas.openxmlformats.org/officeDocument/2006/relationships/tags" Target="../tags/tag26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21.svg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24" Type="http://schemas.openxmlformats.org/officeDocument/2006/relationships/image" Target="../media/image25.svg"/><Relationship Id="rId5" Type="http://schemas.openxmlformats.org/officeDocument/2006/relationships/tags" Target="../tags/tag270.xml"/><Relationship Id="rId15" Type="http://schemas.openxmlformats.org/officeDocument/2006/relationships/tags" Target="../tags/tag280.xml"/><Relationship Id="rId23" Type="http://schemas.openxmlformats.org/officeDocument/2006/relationships/image" Target="../media/image24.png"/><Relationship Id="rId10" Type="http://schemas.openxmlformats.org/officeDocument/2006/relationships/tags" Target="../tags/tag275.xml"/><Relationship Id="rId19" Type="http://schemas.openxmlformats.org/officeDocument/2006/relationships/image" Target="../media/image20.png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tags" Target="../tags/tag279.xml"/><Relationship Id="rId22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06.xml"/><Relationship Id="rId21" Type="http://schemas.openxmlformats.org/officeDocument/2006/relationships/tags" Target="../tags/tag301.xml"/><Relationship Id="rId42" Type="http://schemas.openxmlformats.org/officeDocument/2006/relationships/tags" Target="../tags/tag322.xml"/><Relationship Id="rId47" Type="http://schemas.openxmlformats.org/officeDocument/2006/relationships/tags" Target="../tags/tag327.xml"/><Relationship Id="rId63" Type="http://schemas.openxmlformats.org/officeDocument/2006/relationships/tags" Target="../tags/tag343.xml"/><Relationship Id="rId68" Type="http://schemas.openxmlformats.org/officeDocument/2006/relationships/tags" Target="../tags/tag348.xml"/><Relationship Id="rId84" Type="http://schemas.openxmlformats.org/officeDocument/2006/relationships/tags" Target="../tags/tag364.xml"/><Relationship Id="rId89" Type="http://schemas.openxmlformats.org/officeDocument/2006/relationships/tags" Target="../tags/tag369.xml"/><Relationship Id="rId112" Type="http://schemas.openxmlformats.org/officeDocument/2006/relationships/notesSlide" Target="../notesSlides/notesSlide2.xml"/><Relationship Id="rId16" Type="http://schemas.openxmlformats.org/officeDocument/2006/relationships/tags" Target="../tags/tag296.xml"/><Relationship Id="rId107" Type="http://schemas.openxmlformats.org/officeDocument/2006/relationships/tags" Target="../tags/tag387.xml"/><Relationship Id="rId11" Type="http://schemas.openxmlformats.org/officeDocument/2006/relationships/tags" Target="../tags/tag291.xml"/><Relationship Id="rId32" Type="http://schemas.openxmlformats.org/officeDocument/2006/relationships/tags" Target="../tags/tag312.xml"/><Relationship Id="rId37" Type="http://schemas.openxmlformats.org/officeDocument/2006/relationships/tags" Target="../tags/tag317.xml"/><Relationship Id="rId53" Type="http://schemas.openxmlformats.org/officeDocument/2006/relationships/tags" Target="../tags/tag333.xml"/><Relationship Id="rId58" Type="http://schemas.openxmlformats.org/officeDocument/2006/relationships/tags" Target="../tags/tag338.xml"/><Relationship Id="rId74" Type="http://schemas.openxmlformats.org/officeDocument/2006/relationships/tags" Target="../tags/tag354.xml"/><Relationship Id="rId79" Type="http://schemas.openxmlformats.org/officeDocument/2006/relationships/tags" Target="../tags/tag359.xml"/><Relationship Id="rId102" Type="http://schemas.openxmlformats.org/officeDocument/2006/relationships/tags" Target="../tags/tag382.xml"/><Relationship Id="rId5" Type="http://schemas.openxmlformats.org/officeDocument/2006/relationships/tags" Target="../tags/tag285.xml"/><Relationship Id="rId90" Type="http://schemas.openxmlformats.org/officeDocument/2006/relationships/tags" Target="../tags/tag370.xml"/><Relationship Id="rId95" Type="http://schemas.openxmlformats.org/officeDocument/2006/relationships/tags" Target="../tags/tag375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43" Type="http://schemas.openxmlformats.org/officeDocument/2006/relationships/tags" Target="../tags/tag323.xml"/><Relationship Id="rId48" Type="http://schemas.openxmlformats.org/officeDocument/2006/relationships/tags" Target="../tags/tag328.xml"/><Relationship Id="rId64" Type="http://schemas.openxmlformats.org/officeDocument/2006/relationships/tags" Target="../tags/tag344.xml"/><Relationship Id="rId69" Type="http://schemas.openxmlformats.org/officeDocument/2006/relationships/tags" Target="../tags/tag349.xml"/><Relationship Id="rId113" Type="http://schemas.openxmlformats.org/officeDocument/2006/relationships/oleObject" Target="../embeddings/oleObject37.bin"/><Relationship Id="rId80" Type="http://schemas.openxmlformats.org/officeDocument/2006/relationships/tags" Target="../tags/tag360.xml"/><Relationship Id="rId85" Type="http://schemas.openxmlformats.org/officeDocument/2006/relationships/tags" Target="../tags/tag365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33" Type="http://schemas.openxmlformats.org/officeDocument/2006/relationships/tags" Target="../tags/tag313.xml"/><Relationship Id="rId38" Type="http://schemas.openxmlformats.org/officeDocument/2006/relationships/tags" Target="../tags/tag318.xml"/><Relationship Id="rId59" Type="http://schemas.openxmlformats.org/officeDocument/2006/relationships/tags" Target="../tags/tag339.xml"/><Relationship Id="rId103" Type="http://schemas.openxmlformats.org/officeDocument/2006/relationships/tags" Target="../tags/tag383.xml"/><Relationship Id="rId108" Type="http://schemas.openxmlformats.org/officeDocument/2006/relationships/tags" Target="../tags/tag388.xml"/><Relationship Id="rId54" Type="http://schemas.openxmlformats.org/officeDocument/2006/relationships/tags" Target="../tags/tag334.xml"/><Relationship Id="rId70" Type="http://schemas.openxmlformats.org/officeDocument/2006/relationships/tags" Target="../tags/tag350.xml"/><Relationship Id="rId75" Type="http://schemas.openxmlformats.org/officeDocument/2006/relationships/tags" Target="../tags/tag355.xml"/><Relationship Id="rId91" Type="http://schemas.openxmlformats.org/officeDocument/2006/relationships/tags" Target="../tags/tag371.xml"/><Relationship Id="rId96" Type="http://schemas.openxmlformats.org/officeDocument/2006/relationships/tags" Target="../tags/tag376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36" Type="http://schemas.openxmlformats.org/officeDocument/2006/relationships/tags" Target="../tags/tag316.xml"/><Relationship Id="rId49" Type="http://schemas.openxmlformats.org/officeDocument/2006/relationships/tags" Target="../tags/tag329.xml"/><Relationship Id="rId57" Type="http://schemas.openxmlformats.org/officeDocument/2006/relationships/tags" Target="../tags/tag337.xml"/><Relationship Id="rId106" Type="http://schemas.openxmlformats.org/officeDocument/2006/relationships/tags" Target="../tags/tag386.xml"/><Relationship Id="rId114" Type="http://schemas.openxmlformats.org/officeDocument/2006/relationships/image" Target="../media/image28.emf"/><Relationship Id="rId10" Type="http://schemas.openxmlformats.org/officeDocument/2006/relationships/tags" Target="../tags/tag290.xml"/><Relationship Id="rId31" Type="http://schemas.openxmlformats.org/officeDocument/2006/relationships/tags" Target="../tags/tag311.xml"/><Relationship Id="rId44" Type="http://schemas.openxmlformats.org/officeDocument/2006/relationships/tags" Target="../tags/tag324.xml"/><Relationship Id="rId52" Type="http://schemas.openxmlformats.org/officeDocument/2006/relationships/tags" Target="../tags/tag332.xml"/><Relationship Id="rId60" Type="http://schemas.openxmlformats.org/officeDocument/2006/relationships/tags" Target="../tags/tag340.xml"/><Relationship Id="rId65" Type="http://schemas.openxmlformats.org/officeDocument/2006/relationships/tags" Target="../tags/tag345.xml"/><Relationship Id="rId73" Type="http://schemas.openxmlformats.org/officeDocument/2006/relationships/tags" Target="../tags/tag353.xml"/><Relationship Id="rId78" Type="http://schemas.openxmlformats.org/officeDocument/2006/relationships/tags" Target="../tags/tag358.xml"/><Relationship Id="rId81" Type="http://schemas.openxmlformats.org/officeDocument/2006/relationships/tags" Target="../tags/tag361.xml"/><Relationship Id="rId86" Type="http://schemas.openxmlformats.org/officeDocument/2006/relationships/tags" Target="../tags/tag366.xml"/><Relationship Id="rId94" Type="http://schemas.openxmlformats.org/officeDocument/2006/relationships/tags" Target="../tags/tag374.xml"/><Relationship Id="rId99" Type="http://schemas.openxmlformats.org/officeDocument/2006/relationships/tags" Target="../tags/tag379.xml"/><Relationship Id="rId101" Type="http://schemas.openxmlformats.org/officeDocument/2006/relationships/tags" Target="../tags/tag381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39" Type="http://schemas.openxmlformats.org/officeDocument/2006/relationships/tags" Target="../tags/tag319.xml"/><Relationship Id="rId109" Type="http://schemas.openxmlformats.org/officeDocument/2006/relationships/tags" Target="../tags/tag389.xml"/><Relationship Id="rId34" Type="http://schemas.openxmlformats.org/officeDocument/2006/relationships/tags" Target="../tags/tag314.xml"/><Relationship Id="rId50" Type="http://schemas.openxmlformats.org/officeDocument/2006/relationships/tags" Target="../tags/tag330.xml"/><Relationship Id="rId55" Type="http://schemas.openxmlformats.org/officeDocument/2006/relationships/tags" Target="../tags/tag335.xml"/><Relationship Id="rId76" Type="http://schemas.openxmlformats.org/officeDocument/2006/relationships/tags" Target="../tags/tag356.xml"/><Relationship Id="rId97" Type="http://schemas.openxmlformats.org/officeDocument/2006/relationships/tags" Target="../tags/tag377.xml"/><Relationship Id="rId104" Type="http://schemas.openxmlformats.org/officeDocument/2006/relationships/tags" Target="../tags/tag384.xml"/><Relationship Id="rId7" Type="http://schemas.openxmlformats.org/officeDocument/2006/relationships/tags" Target="../tags/tag287.xml"/><Relationship Id="rId71" Type="http://schemas.openxmlformats.org/officeDocument/2006/relationships/tags" Target="../tags/tag351.xml"/><Relationship Id="rId92" Type="http://schemas.openxmlformats.org/officeDocument/2006/relationships/tags" Target="../tags/tag372.xml"/><Relationship Id="rId2" Type="http://schemas.openxmlformats.org/officeDocument/2006/relationships/tags" Target="../tags/tag282.xml"/><Relationship Id="rId29" Type="http://schemas.openxmlformats.org/officeDocument/2006/relationships/tags" Target="../tags/tag309.xml"/><Relationship Id="rId24" Type="http://schemas.openxmlformats.org/officeDocument/2006/relationships/tags" Target="../tags/tag304.xml"/><Relationship Id="rId40" Type="http://schemas.openxmlformats.org/officeDocument/2006/relationships/tags" Target="../tags/tag320.xml"/><Relationship Id="rId45" Type="http://schemas.openxmlformats.org/officeDocument/2006/relationships/tags" Target="../tags/tag325.xml"/><Relationship Id="rId66" Type="http://schemas.openxmlformats.org/officeDocument/2006/relationships/tags" Target="../tags/tag346.xml"/><Relationship Id="rId87" Type="http://schemas.openxmlformats.org/officeDocument/2006/relationships/tags" Target="../tags/tag367.xml"/><Relationship Id="rId110" Type="http://schemas.openxmlformats.org/officeDocument/2006/relationships/tags" Target="../tags/tag390.xml"/><Relationship Id="rId61" Type="http://schemas.openxmlformats.org/officeDocument/2006/relationships/tags" Target="../tags/tag341.xml"/><Relationship Id="rId82" Type="http://schemas.openxmlformats.org/officeDocument/2006/relationships/tags" Target="../tags/tag362.xml"/><Relationship Id="rId19" Type="http://schemas.openxmlformats.org/officeDocument/2006/relationships/tags" Target="../tags/tag299.xml"/><Relationship Id="rId14" Type="http://schemas.openxmlformats.org/officeDocument/2006/relationships/tags" Target="../tags/tag294.xml"/><Relationship Id="rId30" Type="http://schemas.openxmlformats.org/officeDocument/2006/relationships/tags" Target="../tags/tag310.xml"/><Relationship Id="rId35" Type="http://schemas.openxmlformats.org/officeDocument/2006/relationships/tags" Target="../tags/tag315.xml"/><Relationship Id="rId56" Type="http://schemas.openxmlformats.org/officeDocument/2006/relationships/tags" Target="../tags/tag336.xml"/><Relationship Id="rId77" Type="http://schemas.openxmlformats.org/officeDocument/2006/relationships/tags" Target="../tags/tag357.xml"/><Relationship Id="rId100" Type="http://schemas.openxmlformats.org/officeDocument/2006/relationships/tags" Target="../tags/tag380.xml"/><Relationship Id="rId105" Type="http://schemas.openxmlformats.org/officeDocument/2006/relationships/tags" Target="../tags/tag385.xml"/><Relationship Id="rId8" Type="http://schemas.openxmlformats.org/officeDocument/2006/relationships/tags" Target="../tags/tag288.xml"/><Relationship Id="rId51" Type="http://schemas.openxmlformats.org/officeDocument/2006/relationships/tags" Target="../tags/tag331.xml"/><Relationship Id="rId72" Type="http://schemas.openxmlformats.org/officeDocument/2006/relationships/tags" Target="../tags/tag352.xml"/><Relationship Id="rId93" Type="http://schemas.openxmlformats.org/officeDocument/2006/relationships/tags" Target="../tags/tag373.xml"/><Relationship Id="rId98" Type="http://schemas.openxmlformats.org/officeDocument/2006/relationships/tags" Target="../tags/tag378.xml"/><Relationship Id="rId3" Type="http://schemas.openxmlformats.org/officeDocument/2006/relationships/tags" Target="../tags/tag283.xml"/><Relationship Id="rId25" Type="http://schemas.openxmlformats.org/officeDocument/2006/relationships/tags" Target="../tags/tag305.xml"/><Relationship Id="rId46" Type="http://schemas.openxmlformats.org/officeDocument/2006/relationships/tags" Target="../tags/tag326.xml"/><Relationship Id="rId67" Type="http://schemas.openxmlformats.org/officeDocument/2006/relationships/tags" Target="../tags/tag347.xml"/><Relationship Id="rId20" Type="http://schemas.openxmlformats.org/officeDocument/2006/relationships/tags" Target="../tags/tag300.xml"/><Relationship Id="rId41" Type="http://schemas.openxmlformats.org/officeDocument/2006/relationships/tags" Target="../tags/tag321.xml"/><Relationship Id="rId62" Type="http://schemas.openxmlformats.org/officeDocument/2006/relationships/tags" Target="../tags/tag342.xml"/><Relationship Id="rId83" Type="http://schemas.openxmlformats.org/officeDocument/2006/relationships/tags" Target="../tags/tag363.xml"/><Relationship Id="rId88" Type="http://schemas.openxmlformats.org/officeDocument/2006/relationships/tags" Target="../tags/tag368.xml"/><Relationship Id="rId11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image" Target="../media/image11.emf"/><Relationship Id="rId2" Type="http://schemas.openxmlformats.org/officeDocument/2006/relationships/tags" Target="../tags/tag392.xml"/><Relationship Id="rId16" Type="http://schemas.openxmlformats.org/officeDocument/2006/relationships/oleObject" Target="../embeddings/oleObject38.bin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5" Type="http://schemas.openxmlformats.org/officeDocument/2006/relationships/tags" Target="../tags/tag39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400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18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19700" y="1736762"/>
            <a:ext cx="6415088" cy="1661993"/>
          </a:xfrm>
        </p:spPr>
        <p:txBody>
          <a:bodyPr vert="horz" anchor="t">
            <a:spAutoFit/>
          </a:bodyPr>
          <a:lstStyle/>
          <a:p>
            <a:r>
              <a:rPr lang="en-US" sz="3600" dirty="0">
                <a:latin typeface="+mn-lt"/>
              </a:rPr>
              <a:t>PRS update on </a:t>
            </a:r>
            <a:br>
              <a:rPr lang="en-US" sz="3600" dirty="0">
                <a:latin typeface="+mn-lt"/>
              </a:rPr>
            </a:br>
            <a:r>
              <a:rPr lang="en-US" sz="3600" dirty="0">
                <a:latin typeface="+mn-lt"/>
              </a:rPr>
              <a:t>Large Load Interconnection Batch Study Workshops</a:t>
            </a: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umenttype">
            <a:extLst>
              <a:ext uri="{FF2B5EF4-FFF2-40B4-BE49-F238E27FC236}">
                <a16:creationId xmlns:a16="http://schemas.microsoft.com/office/drawing/2014/main" id="{DD8FE9DE-4BC5-C27C-2B66-C18BC8C026B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32972" y="4851133"/>
            <a:ext cx="601821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US" sz="1800" dirty="0"/>
              <a:t>March 11</a:t>
            </a:r>
            <a:r>
              <a:rPr lang="en-US" sz="1800" baseline="30000" dirty="0"/>
              <a:t>th</a:t>
            </a:r>
            <a:r>
              <a:rPr lang="en-US" sz="1800" dirty="0"/>
              <a:t>, 2026</a:t>
            </a: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BB13B68-1A53-6458-0713-384D3603846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32972" y="3833013"/>
            <a:ext cx="601821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Matt Merenes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68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70BC9-23E3-65B4-8C73-A5D2A3F1C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2CBA89-9154-43DE-7826-DA2C1709F7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04" imgH="403" progId="TCLayout.ActiveDocument.1">
                  <p:embed/>
                </p:oleObj>
              </mc:Choice>
              <mc:Fallback>
                <p:oleObj name="think-cell Slide" r:id="rId32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2CBA89-9154-43DE-7826-DA2C1709F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28774F-988A-03F7-273C-F1D3CD393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02586"/>
            <a:ext cx="9521543" cy="843034"/>
          </a:xfrm>
        </p:spPr>
        <p:txBody>
          <a:bodyPr vert="horz"/>
          <a:lstStyle/>
          <a:p>
            <a:r>
              <a:rPr lang="en-US"/>
              <a:t>The batch study process increases outcome certainty and transparency while limiting restudy risk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7A24BA-462A-62A6-FD83-88547E96C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9203" y="6437850"/>
            <a:ext cx="646975" cy="220662"/>
          </a:xfrm>
        </p:spPr>
        <p:txBody>
          <a:bodyPr/>
          <a:lstStyle/>
          <a:p>
            <a:fld id="{1D93BD3E-1E9A-4970-A6F7-E7AC52762E0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6272645-AAD4-AB8E-B02E-D1BA1E1FA126}"/>
              </a:ext>
            </a:extLst>
          </p:cNvPr>
          <p:cNvSpPr txBox="1"/>
          <p:nvPr/>
        </p:nvSpPr>
        <p:spPr>
          <a:xfrm>
            <a:off x="6232155" y="997525"/>
            <a:ext cx="477962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indent="0">
              <a:buNone/>
            </a:pPr>
            <a:r>
              <a:rPr lang="en-US" sz="1400" b="1"/>
              <a:t>…to the new </a:t>
            </a:r>
            <a:r>
              <a:rPr lang="en-US" sz="1400"/>
              <a:t>batch study process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F185438-DD0C-8210-5863-B0C2FB66986C}"/>
              </a:ext>
            </a:extLst>
          </p:cNvPr>
          <p:cNvGrpSpPr/>
          <p:nvPr/>
        </p:nvGrpSpPr>
        <p:grpSpPr>
          <a:xfrm>
            <a:off x="10057603" y="823027"/>
            <a:ext cx="1744034" cy="153888"/>
            <a:chOff x="9396985" y="1191942"/>
            <a:chExt cx="1744034" cy="153888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1EE2F84-E74B-74FB-0CAA-D871F0E5CBA1}"/>
                </a:ext>
              </a:extLst>
            </p:cNvPr>
            <p:cNvSpPr>
              <a:spLocks/>
            </p:cNvSpPr>
            <p:nvPr/>
          </p:nvSpPr>
          <p:spPr>
            <a:xfrm>
              <a:off x="9396985" y="1191942"/>
              <a:ext cx="204216" cy="146492"/>
            </a:xfrm>
            <a:prstGeom prst="rect">
              <a:avLst/>
            </a:prstGeom>
            <a:solidFill>
              <a:srgbClr val="00386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82050EB-2D00-24C7-EB33-F444173C063A}"/>
                </a:ext>
              </a:extLst>
            </p:cNvPr>
            <p:cNvSpPr txBox="1"/>
            <p:nvPr/>
          </p:nvSpPr>
          <p:spPr>
            <a:xfrm>
              <a:off x="9693257" y="1191942"/>
              <a:ext cx="1447762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000"/>
                <a:t>ERCOT action</a:t>
              </a: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358D2880-043B-20F3-A068-84098C62FB51}"/>
              </a:ext>
            </a:extLst>
          </p:cNvPr>
          <p:cNvSpPr>
            <a:spLocks/>
          </p:cNvSpPr>
          <p:nvPr/>
        </p:nvSpPr>
        <p:spPr>
          <a:xfrm>
            <a:off x="10057603" y="617412"/>
            <a:ext cx="204216" cy="146492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7587A72-4559-B180-BBBE-CDD6DE93F197}"/>
              </a:ext>
            </a:extLst>
          </p:cNvPr>
          <p:cNvSpPr txBox="1"/>
          <p:nvPr/>
        </p:nvSpPr>
        <p:spPr>
          <a:xfrm>
            <a:off x="10353875" y="617412"/>
            <a:ext cx="14477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Non-ERCOT ac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A4E1C1D-D00F-A51E-9FB8-697CB70BE04E}"/>
              </a:ext>
            </a:extLst>
          </p:cNvPr>
          <p:cNvSpPr txBox="1"/>
          <p:nvPr/>
        </p:nvSpPr>
        <p:spPr>
          <a:xfrm>
            <a:off x="10353875" y="411281"/>
            <a:ext cx="14477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Communication point</a:t>
            </a:r>
          </a:p>
        </p:txBody>
      </p:sp>
      <p:grpSp>
        <p:nvGrpSpPr>
          <p:cNvPr id="94" name="CustomIcon">
            <a:extLst>
              <a:ext uri="{FF2B5EF4-FFF2-40B4-BE49-F238E27FC236}">
                <a16:creationId xmlns:a16="http://schemas.microsoft.com/office/drawing/2014/main" id="{D6F704BD-0779-FFC7-E05F-585676EB813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029543" y="291463"/>
            <a:ext cx="261893" cy="261893"/>
            <a:chOff x="-205105" y="-205105"/>
            <a:chExt cx="1019810" cy="1019810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FA0716EA-8E35-5FBC-59E2-FAA92E328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5D65C24F-2ADE-E893-7824-974B3188B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454D42FD-8650-0910-C6BF-FDAF070B6CA7}"/>
              </a:ext>
            </a:extLst>
          </p:cNvPr>
          <p:cNvSpPr>
            <a:spLocks/>
          </p:cNvSpPr>
          <p:nvPr/>
        </p:nvSpPr>
        <p:spPr>
          <a:xfrm>
            <a:off x="399778" y="1427285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C099BFA-5588-A289-A81F-524EC46F3E94}"/>
              </a:ext>
            </a:extLst>
          </p:cNvPr>
          <p:cNvSpPr>
            <a:spLocks/>
          </p:cNvSpPr>
          <p:nvPr/>
        </p:nvSpPr>
        <p:spPr>
          <a:xfrm>
            <a:off x="1225823" y="1429302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88BD1A8-DD72-3325-F2E3-7C35E3682A83}"/>
              </a:ext>
            </a:extLst>
          </p:cNvPr>
          <p:cNvCxnSpPr>
            <a:cxnSpLocks/>
            <a:stCxn id="40" idx="3"/>
            <a:endCxn id="50" idx="1"/>
          </p:cNvCxnSpPr>
          <p:nvPr/>
        </p:nvCxnSpPr>
        <p:spPr>
          <a:xfrm>
            <a:off x="980174" y="1676032"/>
            <a:ext cx="245649" cy="101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3A6D8DB-DAB3-EBAE-AD93-872645C08C3C}"/>
              </a:ext>
            </a:extLst>
          </p:cNvPr>
          <p:cNvCxnSpPr>
            <a:cxnSpLocks/>
            <a:stCxn id="50" idx="3"/>
            <a:endCxn id="147" idx="1"/>
          </p:cNvCxnSpPr>
          <p:nvPr/>
        </p:nvCxnSpPr>
        <p:spPr>
          <a:xfrm flipV="1">
            <a:off x="2160355" y="1677041"/>
            <a:ext cx="170614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99669B84-623E-86FB-5F38-AE0496058DBD}"/>
              </a:ext>
            </a:extLst>
          </p:cNvPr>
          <p:cNvSpPr>
            <a:spLocks/>
          </p:cNvSpPr>
          <p:nvPr/>
        </p:nvSpPr>
        <p:spPr>
          <a:xfrm>
            <a:off x="1791825" y="2102967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0618FAE-81D2-9837-BE17-2E676F4ED875}"/>
              </a:ext>
            </a:extLst>
          </p:cNvPr>
          <p:cNvSpPr>
            <a:spLocks/>
          </p:cNvSpPr>
          <p:nvPr/>
        </p:nvSpPr>
        <p:spPr>
          <a:xfrm>
            <a:off x="2959658" y="2102965"/>
            <a:ext cx="692336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6F04934-5E6B-8223-1BEB-3B693568C46A}"/>
              </a:ext>
            </a:extLst>
          </p:cNvPr>
          <p:cNvCxnSpPr>
            <a:cxnSpLocks/>
          </p:cNvCxnSpPr>
          <p:nvPr/>
        </p:nvCxnSpPr>
        <p:spPr>
          <a:xfrm>
            <a:off x="3197899" y="3399189"/>
            <a:ext cx="155882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F7641AA-0084-5565-3320-E99243A21614}"/>
              </a:ext>
            </a:extLst>
          </p:cNvPr>
          <p:cNvSpPr>
            <a:spLocks/>
          </p:cNvSpPr>
          <p:nvPr/>
        </p:nvSpPr>
        <p:spPr>
          <a:xfrm>
            <a:off x="2407607" y="2776632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BE1A7F1-DAE4-3D01-0428-2CD1C45D818A}"/>
              </a:ext>
            </a:extLst>
          </p:cNvPr>
          <p:cNvSpPr>
            <a:spLocks/>
          </p:cNvSpPr>
          <p:nvPr/>
        </p:nvSpPr>
        <p:spPr>
          <a:xfrm>
            <a:off x="4771914" y="4123961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EB9B5748-0F4A-9971-3C47-41390829DEA9}"/>
              </a:ext>
            </a:extLst>
          </p:cNvPr>
          <p:cNvCxnSpPr>
            <a:cxnSpLocks/>
            <a:stCxn id="34" idx="3"/>
            <a:endCxn id="110" idx="1"/>
          </p:cNvCxnSpPr>
          <p:nvPr/>
        </p:nvCxnSpPr>
        <p:spPr>
          <a:xfrm>
            <a:off x="4573703" y="4371701"/>
            <a:ext cx="19821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BA3A3B1E-E906-ECD8-CB93-D3B613A0F9A7}"/>
              </a:ext>
            </a:extLst>
          </p:cNvPr>
          <p:cNvCxnSpPr>
            <a:cxnSpLocks/>
            <a:stCxn id="110" idx="0"/>
            <a:endCxn id="55" idx="1"/>
          </p:cNvCxnSpPr>
          <p:nvPr/>
        </p:nvCxnSpPr>
        <p:spPr>
          <a:xfrm rot="5400000" flipH="1" flipV="1">
            <a:off x="4680895" y="3394515"/>
            <a:ext cx="1148181" cy="310712"/>
          </a:xfrm>
          <a:prstGeom prst="bent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D3C53D52-951E-1936-9A1C-BCA2390D1047}"/>
              </a:ext>
            </a:extLst>
          </p:cNvPr>
          <p:cNvCxnSpPr>
            <a:cxnSpLocks/>
            <a:stCxn id="86" idx="2"/>
            <a:endCxn id="50" idx="2"/>
          </p:cNvCxnSpPr>
          <p:nvPr/>
        </p:nvCxnSpPr>
        <p:spPr>
          <a:xfrm rot="5400000" flipH="1">
            <a:off x="1639257" y="1978614"/>
            <a:ext cx="673665" cy="566002"/>
          </a:xfrm>
          <a:prstGeom prst="bentConnector3">
            <a:avLst>
              <a:gd name="adj1" fmla="val -1868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C8A35E0F-C8AD-642C-F4D7-709B7EB1764F}"/>
              </a:ext>
            </a:extLst>
          </p:cNvPr>
          <p:cNvSpPr>
            <a:spLocks/>
          </p:cNvSpPr>
          <p:nvPr/>
        </p:nvSpPr>
        <p:spPr>
          <a:xfrm>
            <a:off x="5410341" y="2728040"/>
            <a:ext cx="492889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RPG, QSA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B781842E-0440-D27D-97DB-ABDB0BD87DA3}"/>
              </a:ext>
            </a:extLst>
          </p:cNvPr>
          <p:cNvCxnSpPr>
            <a:cxnSpLocks/>
          </p:cNvCxnSpPr>
          <p:nvPr/>
        </p:nvCxnSpPr>
        <p:spPr>
          <a:xfrm flipV="1">
            <a:off x="5652108" y="2439348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5B2F0915-C3CA-F044-61E5-EAA7A005EE40}"/>
              </a:ext>
            </a:extLst>
          </p:cNvPr>
          <p:cNvSpPr txBox="1"/>
          <p:nvPr/>
        </p:nvSpPr>
        <p:spPr>
          <a:xfrm>
            <a:off x="5335517" y="2309890"/>
            <a:ext cx="67427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>
                <a:solidFill>
                  <a:schemeClr val="accent6"/>
                </a:solidFill>
              </a:rPr>
              <a:t>Energization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E3BA541-48E4-A7ED-E57D-F8091BBE760D}"/>
              </a:ext>
            </a:extLst>
          </p:cNvPr>
          <p:cNvSpPr>
            <a:spLocks/>
          </p:cNvSpPr>
          <p:nvPr/>
        </p:nvSpPr>
        <p:spPr>
          <a:xfrm>
            <a:off x="6345689" y="1680761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711BAF1-92B7-E26A-6E0C-D2B67479A0E8}"/>
              </a:ext>
            </a:extLst>
          </p:cNvPr>
          <p:cNvSpPr>
            <a:spLocks/>
          </p:cNvSpPr>
          <p:nvPr/>
        </p:nvSpPr>
        <p:spPr>
          <a:xfrm>
            <a:off x="6663841" y="2241218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BCF4268-3FAE-591E-A319-A08A252DA7A0}"/>
              </a:ext>
            </a:extLst>
          </p:cNvPr>
          <p:cNvSpPr>
            <a:spLocks/>
          </p:cNvSpPr>
          <p:nvPr/>
        </p:nvSpPr>
        <p:spPr>
          <a:xfrm>
            <a:off x="6981993" y="2801675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42AE58AB-8241-D714-00F4-7C80E6F4227F}"/>
              </a:ext>
            </a:extLst>
          </p:cNvPr>
          <p:cNvSpPr/>
          <p:nvPr/>
        </p:nvSpPr>
        <p:spPr>
          <a:xfrm>
            <a:off x="8563720" y="1479397"/>
            <a:ext cx="203663" cy="3008313"/>
          </a:xfrm>
          <a:prstGeom prst="rightBrace">
            <a:avLst>
              <a:gd name="adj1" fmla="val 8333"/>
              <a:gd name="adj2" fmla="val 51215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05F51810-3621-A89E-7AC7-182EA762DB75}"/>
              </a:ext>
            </a:extLst>
          </p:cNvPr>
          <p:cNvCxnSpPr>
            <a:cxnSpLocks/>
          </p:cNvCxnSpPr>
          <p:nvPr/>
        </p:nvCxnSpPr>
        <p:spPr>
          <a:xfrm flipV="1">
            <a:off x="11280718" y="2465324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931F865-FF6C-1F8D-CE9F-2879B2A80125}"/>
              </a:ext>
            </a:extLst>
          </p:cNvPr>
          <p:cNvSpPr>
            <a:spLocks/>
          </p:cNvSpPr>
          <p:nvPr/>
        </p:nvSpPr>
        <p:spPr>
          <a:xfrm>
            <a:off x="11011775" y="2750884"/>
            <a:ext cx="532081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RPG, QSA</a:t>
            </a: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47105A1-70A2-90D6-0086-BF16B5F9168C}"/>
              </a:ext>
            </a:extLst>
          </p:cNvPr>
          <p:cNvCxnSpPr>
            <a:cxnSpLocks/>
            <a:endCxn id="128" idx="1"/>
          </p:cNvCxnSpPr>
          <p:nvPr/>
        </p:nvCxnSpPr>
        <p:spPr>
          <a:xfrm>
            <a:off x="10797242" y="2998624"/>
            <a:ext cx="21453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7684CBD2-B03E-6D12-E1D0-1738ECB9EE30}"/>
              </a:ext>
            </a:extLst>
          </p:cNvPr>
          <p:cNvSpPr txBox="1"/>
          <p:nvPr/>
        </p:nvSpPr>
        <p:spPr>
          <a:xfrm>
            <a:off x="10913830" y="2342213"/>
            <a:ext cx="7337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>
                <a:solidFill>
                  <a:schemeClr val="accent6"/>
                </a:solidFill>
              </a:rPr>
              <a:t>Energization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2FAB1D8F-5530-330A-FEBE-23F8A520F2A6}"/>
              </a:ext>
            </a:extLst>
          </p:cNvPr>
          <p:cNvSpPr>
            <a:spLocks/>
          </p:cNvSpPr>
          <p:nvPr/>
        </p:nvSpPr>
        <p:spPr>
          <a:xfrm>
            <a:off x="8905356" y="2750884"/>
            <a:ext cx="1859013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sz="800" b="1">
                <a:solidFill>
                  <a:schemeClr val="bg1"/>
                </a:solidFill>
              </a:rPr>
              <a:t>Batch study: </a:t>
            </a:r>
            <a:r>
              <a:rPr lang="en-US" sz="800">
                <a:solidFill>
                  <a:schemeClr val="bg1"/>
                </a:solidFill>
              </a:rPr>
              <a:t>ERCOT compiles applications, studies together as a batch, and allocates load</a:t>
            </a:r>
          </a:p>
        </p:txBody>
      </p:sp>
      <p:sp>
        <p:nvSpPr>
          <p:cNvPr id="35" name="TrackerAlphaWhite 56">
            <a:extLst>
              <a:ext uri="{FF2B5EF4-FFF2-40B4-BE49-F238E27FC236}">
                <a16:creationId xmlns:a16="http://schemas.microsoft.com/office/drawing/2014/main" id="{14823363-F441-C752-1387-7D4E1B0B6A9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724136" y="2326575"/>
            <a:ext cx="249363" cy="24936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C</a:t>
            </a:r>
          </a:p>
        </p:txBody>
      </p: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D63490FF-7CFA-DD09-8F2C-EFD5AE43424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8717872" y="2595296"/>
            <a:ext cx="261893" cy="261893"/>
            <a:chOff x="-205105" y="-205105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36B2960-B5AF-7082-9752-A6324F7F2C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388FD7-EB5C-A24B-3062-92FC67351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CustomIcon">
            <a:extLst>
              <a:ext uri="{FF2B5EF4-FFF2-40B4-BE49-F238E27FC236}">
                <a16:creationId xmlns:a16="http://schemas.microsoft.com/office/drawing/2014/main" id="{785CFC04-B9EA-DAF2-A437-1AA9A4A7BF72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177277" y="1567042"/>
            <a:ext cx="261893" cy="261893"/>
            <a:chOff x="-205105" y="-205105"/>
            <a:chExt cx="1019810" cy="101981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6382419-94DC-9F2A-6E40-68FB6C3FB3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1F324D48-9E31-6851-BFAA-21F0A5B9E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D253B7D4-8B46-64CA-5015-AD70F61998F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0853571" y="2651737"/>
            <a:ext cx="261893" cy="261893"/>
            <a:chOff x="-205105" y="-205105"/>
            <a:chExt cx="1019810" cy="10198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6C097FE-C3B0-19F5-3A60-1AC7BEB93B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7A132E36-06F8-3BD7-75F2-B992339CE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1AE23C1C-52C7-B30A-7C77-A8D541B569B0}"/>
              </a:ext>
            </a:extLst>
          </p:cNvPr>
          <p:cNvSpPr txBox="1"/>
          <p:nvPr/>
        </p:nvSpPr>
        <p:spPr>
          <a:xfrm>
            <a:off x="273120" y="997525"/>
            <a:ext cx="5271099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indent="0">
              <a:buNone/>
            </a:pPr>
            <a:r>
              <a:rPr lang="en-US" sz="1400" b="1"/>
              <a:t>From the existing </a:t>
            </a:r>
            <a:r>
              <a:rPr lang="en-US" sz="1400"/>
              <a:t>single study process…</a:t>
            </a:r>
          </a:p>
        </p:txBody>
      </p:sp>
      <p:cxnSp>
        <p:nvCxnSpPr>
          <p:cNvPr id="58" name="GreyLineContentSeparatorDefault 63">
            <a:extLst>
              <a:ext uri="{FF2B5EF4-FFF2-40B4-BE49-F238E27FC236}">
                <a16:creationId xmlns:a16="http://schemas.microsoft.com/office/drawing/2014/main" id="{3BEFA794-9A3A-3A13-F9C1-881D787E21A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86056" y="1307315"/>
            <a:ext cx="11552515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1AA94C99-A430-134E-B8D7-8E4EBAA0266B}"/>
              </a:ext>
            </a:extLst>
          </p:cNvPr>
          <p:cNvSpPr/>
          <p:nvPr/>
        </p:nvSpPr>
        <p:spPr>
          <a:xfrm>
            <a:off x="386057" y="4888867"/>
            <a:ext cx="11552514" cy="1321544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D3B12445-376C-FA71-57BF-38F23B2A53ED}"/>
              </a:ext>
            </a:extLst>
          </p:cNvPr>
          <p:cNvGrpSpPr/>
          <p:nvPr/>
        </p:nvGrpSpPr>
        <p:grpSpPr>
          <a:xfrm>
            <a:off x="515316" y="4919047"/>
            <a:ext cx="5480142" cy="577081"/>
            <a:chOff x="515316" y="4477263"/>
            <a:chExt cx="5480142" cy="577081"/>
          </a:xfrm>
        </p:grpSpPr>
        <p:sp>
          <p:nvSpPr>
            <p:cNvPr id="85" name="TrackerAlphaWhite 56">
              <a:extLst>
                <a:ext uri="{FF2B5EF4-FFF2-40B4-BE49-F238E27FC236}">
                  <a16:creationId xmlns:a16="http://schemas.microsoft.com/office/drawing/2014/main" id="{4C06F598-819F-FFCA-608C-107A890E4CF5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515316" y="4477263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A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B4C2730-B0BB-6622-5601-4635E5057A2A}"/>
                </a:ext>
              </a:extLst>
            </p:cNvPr>
            <p:cNvSpPr txBox="1"/>
            <p:nvPr/>
          </p:nvSpPr>
          <p:spPr>
            <a:xfrm>
              <a:off x="795501" y="4477263"/>
              <a:ext cx="5199957" cy="57708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Frequent restudies required</a:t>
              </a:r>
              <a:br>
                <a:rPr lang="en-US" sz="1050" b="1"/>
              </a:br>
              <a:r>
                <a:rPr lang="en-US" sz="1050"/>
                <a:t>If another project impacts the same transmission zone, all previous studies are invalidated and impacted projects which haven’t yet energized must be restudied</a:t>
              </a: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B12646BD-0BD3-A9B5-9208-8CCC4162BA56}"/>
              </a:ext>
            </a:extLst>
          </p:cNvPr>
          <p:cNvGrpSpPr/>
          <p:nvPr/>
        </p:nvGrpSpPr>
        <p:grpSpPr>
          <a:xfrm>
            <a:off x="515316" y="5469875"/>
            <a:ext cx="5480142" cy="738664"/>
            <a:chOff x="515316" y="5336311"/>
            <a:chExt cx="5480142" cy="738664"/>
          </a:xfrm>
        </p:grpSpPr>
        <p:sp>
          <p:nvSpPr>
            <p:cNvPr id="96" name="TrackerAlphaWhite 56">
              <a:extLst>
                <a:ext uri="{FF2B5EF4-FFF2-40B4-BE49-F238E27FC236}">
                  <a16:creationId xmlns:a16="http://schemas.microsoft.com/office/drawing/2014/main" id="{A551C34E-45B2-5316-65CB-A1B5DEAD372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515316" y="5336311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B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ABF7B1B-9D9B-BCF3-8179-FD50F47A3F68}"/>
                </a:ext>
              </a:extLst>
            </p:cNvPr>
            <p:cNvSpPr txBox="1"/>
            <p:nvPr/>
          </p:nvSpPr>
          <p:spPr>
            <a:xfrm>
              <a:off x="795501" y="5336311"/>
              <a:ext cx="5199957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Restudy loop</a:t>
              </a:r>
              <a:br>
                <a:rPr lang="en-US" sz="1050" b="1"/>
              </a:br>
              <a:r>
                <a:rPr lang="en-US" sz="1050"/>
                <a:t>In the absence of capacity reservation, projects can be repeatedly pulled into restudies as new requests enter the system, delaying approvals and potentially extending timelines by years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C12FA97-FBF8-A9AA-2961-B6A7C4212265}"/>
              </a:ext>
            </a:extLst>
          </p:cNvPr>
          <p:cNvGrpSpPr/>
          <p:nvPr/>
        </p:nvGrpSpPr>
        <p:grpSpPr>
          <a:xfrm>
            <a:off x="6273647" y="4919047"/>
            <a:ext cx="5532296" cy="577081"/>
            <a:chOff x="6273647" y="4540624"/>
            <a:chExt cx="5532296" cy="577081"/>
          </a:xfrm>
        </p:grpSpPr>
        <p:sp>
          <p:nvSpPr>
            <p:cNvPr id="102" name="TrackerAlphaWhite 56">
              <a:extLst>
                <a:ext uri="{FF2B5EF4-FFF2-40B4-BE49-F238E27FC236}">
                  <a16:creationId xmlns:a16="http://schemas.microsoft.com/office/drawing/2014/main" id="{779D109C-4670-AD92-3466-FEBCBB2D802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6273647" y="4540624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sz="1100">
                  <a:solidFill>
                    <a:schemeClr val="accent1"/>
                  </a:solidFill>
                </a:rPr>
                <a:t>C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EC03828-A912-9738-1773-DE3EA7A0023B}"/>
                </a:ext>
              </a:extLst>
            </p:cNvPr>
            <p:cNvSpPr txBox="1"/>
            <p:nvPr/>
          </p:nvSpPr>
          <p:spPr>
            <a:xfrm>
              <a:off x="6553832" y="4540624"/>
              <a:ext cx="5252111" cy="57708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Batching process</a:t>
              </a:r>
              <a:br>
                <a:rPr lang="en-US" sz="1050" b="1"/>
              </a:br>
              <a:r>
                <a:rPr lang="en-US" sz="1050"/>
                <a:t>Every ~6 months, all submitted requests are clustered and studied together; allocated capacity coming out of the study is “reserved” to prevent restudies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880C937-F0E5-7E94-28E9-1C35E2AFB74D}"/>
              </a:ext>
            </a:extLst>
          </p:cNvPr>
          <p:cNvGrpSpPr/>
          <p:nvPr/>
        </p:nvGrpSpPr>
        <p:grpSpPr>
          <a:xfrm>
            <a:off x="6273647" y="5469875"/>
            <a:ext cx="5532296" cy="738664"/>
            <a:chOff x="6273647" y="5820643"/>
            <a:chExt cx="5532296" cy="738664"/>
          </a:xfrm>
        </p:grpSpPr>
        <p:grpSp>
          <p:nvGrpSpPr>
            <p:cNvPr id="106" name="CustomIcon">
              <a:extLst>
                <a:ext uri="{FF2B5EF4-FFF2-40B4-BE49-F238E27FC236}">
                  <a16:creationId xmlns:a16="http://schemas.microsoft.com/office/drawing/2014/main" id="{A20ACC1B-3B32-CCB0-2510-3FC0C5615A60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>
            <a:xfrm>
              <a:off x="6273647" y="5820643"/>
              <a:ext cx="249363" cy="249363"/>
              <a:chOff x="-205105" y="-205105"/>
              <a:chExt cx="1019810" cy="1019810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0F9D5142-666D-A528-20E2-73C0047A256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pic>
            <p:nvPicPr>
              <p:cNvPr id="117" name="Graphic 116">
                <a:extLst>
                  <a:ext uri="{FF2B5EF4-FFF2-40B4-BE49-F238E27FC236}">
                    <a16:creationId xmlns:a16="http://schemas.microsoft.com/office/drawing/2014/main" id="{E4E921CC-C232-5272-5B6E-4AAF63E0F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extLs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CC56D552-16E6-FD40-338D-6B7BD38680AD}"/>
                </a:ext>
              </a:extLst>
            </p:cNvPr>
            <p:cNvSpPr txBox="1"/>
            <p:nvPr/>
          </p:nvSpPr>
          <p:spPr>
            <a:xfrm>
              <a:off x="6553832" y="5820643"/>
              <a:ext cx="5252111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050" b="1"/>
                <a:t>Transparent communications</a:t>
              </a:r>
              <a:br>
                <a:rPr lang="en-US" sz="1050" b="1"/>
              </a:br>
              <a:r>
                <a:rPr lang="en-US" sz="1050"/>
                <a:t>Along with the new batch study process, ERCOT is redesigning the study communication process to have clearly defined touchpoints and transparent information handovers </a:t>
              </a:r>
            </a:p>
          </p:txBody>
        </p:sp>
      </p:grpSp>
      <p:cxnSp>
        <p:nvCxnSpPr>
          <p:cNvPr id="54" name="LineBasicVerticalDefault 55">
            <a:extLst>
              <a:ext uri="{FF2B5EF4-FFF2-40B4-BE49-F238E27FC236}">
                <a16:creationId xmlns:a16="http://schemas.microsoft.com/office/drawing/2014/main" id="{D5940264-5512-F2C6-5CD2-F5E6752350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23254" y="1310379"/>
            <a:ext cx="0" cy="3395185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ChevronBlue 73">
            <a:extLst>
              <a:ext uri="{FF2B5EF4-FFF2-40B4-BE49-F238E27FC236}">
                <a16:creationId xmlns:a16="http://schemas.microsoft.com/office/drawing/2014/main" id="{48884546-8DF3-E188-C16E-12C5134724CB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995458" y="1167028"/>
            <a:ext cx="283640" cy="283640"/>
            <a:chOff x="1016000" y="1016000"/>
            <a:chExt cx="396228" cy="39622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77B9962D-9AD7-8E65-DCF7-F468D568FC5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C68B0759-8EE4-D35E-BCEF-3E1433AAE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5430AF8B-1183-4630-142D-3BF1C6641CB1}"/>
              </a:ext>
            </a:extLst>
          </p:cNvPr>
          <p:cNvCxnSpPr>
            <a:cxnSpLocks/>
            <a:stCxn id="109" idx="2"/>
            <a:endCxn id="86" idx="2"/>
          </p:cNvCxnSpPr>
          <p:nvPr/>
        </p:nvCxnSpPr>
        <p:spPr>
          <a:xfrm rot="5400000" flipH="1">
            <a:off x="2230149" y="2627389"/>
            <a:ext cx="673665" cy="615782"/>
          </a:xfrm>
          <a:prstGeom prst="bentConnector3">
            <a:avLst>
              <a:gd name="adj1" fmla="val -2173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1E12DDF3-A984-A69E-3B1D-8A2597EC2FC0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474637" y="2150799"/>
            <a:ext cx="261893" cy="261893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D53483F-4358-0625-F631-C1D5D30428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E3220F98-3977-98EF-FB71-CF45ACD5B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9" name="CustomIcon">
            <a:extLst>
              <a:ext uri="{FF2B5EF4-FFF2-40B4-BE49-F238E27FC236}">
                <a16:creationId xmlns:a16="http://schemas.microsoft.com/office/drawing/2014/main" id="{566F3B8E-7CC2-38B4-C9D9-413E42E50E59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7794630" y="2666591"/>
            <a:ext cx="261893" cy="261893"/>
            <a:chOff x="-205105" y="-205105"/>
            <a:chExt cx="1019810" cy="101981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322E2FF-5C32-A05A-0A62-5E169193FA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A5170387-7B1D-35EB-3879-FC634119C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64" name="CustomIcon">
            <a:extLst>
              <a:ext uri="{FF2B5EF4-FFF2-40B4-BE49-F238E27FC236}">
                <a16:creationId xmlns:a16="http://schemas.microsoft.com/office/drawing/2014/main" id="{11B2B2FF-27E5-8E18-2AFB-44B42C43BE16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5293771" y="2619414"/>
            <a:ext cx="261893" cy="261893"/>
            <a:chOff x="-205105" y="-205105"/>
            <a:chExt cx="1019810" cy="101981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91145638-C8D3-3C96-C10A-A646DF8661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102201E3-5B28-8B94-7D37-BAD07A55A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67" name="TrackerAlphaWhite 56">
            <a:extLst>
              <a:ext uri="{FF2B5EF4-FFF2-40B4-BE49-F238E27FC236}">
                <a16:creationId xmlns:a16="http://schemas.microsoft.com/office/drawing/2014/main" id="{6146997D-8E59-D94C-79E4-F44EE5DCC30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647730" y="2526003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>
                <a:solidFill>
                  <a:schemeClr val="accent1"/>
                </a:solidFill>
              </a:rPr>
              <a:t>B</a:t>
            </a:r>
          </a:p>
        </p:txBody>
      </p:sp>
      <p:pic>
        <p:nvPicPr>
          <p:cNvPr id="69" name="CustomIcon">
            <a:extLst>
              <a:ext uri="{FF2B5EF4-FFF2-40B4-BE49-F238E27FC236}">
                <a16:creationId xmlns:a16="http://schemas.microsoft.com/office/drawing/2014/main" id="{BD9528E5-4C9B-2383-AF47-ACBA2A1E8D3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669762" y="2649575"/>
            <a:ext cx="635843" cy="6358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44EE6F2-0AA3-E06F-A5EC-C0A28DE4899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162265" y="6490874"/>
            <a:ext cx="1521704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ERCOT discuss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9F129E-1458-6911-33B8-5B692EA89A5E}"/>
              </a:ext>
            </a:extLst>
          </p:cNvPr>
          <p:cNvSpPr>
            <a:spLocks/>
          </p:cNvSpPr>
          <p:nvPr/>
        </p:nvSpPr>
        <p:spPr>
          <a:xfrm>
            <a:off x="7300145" y="3362132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E6D8A0-17F5-B972-2248-ABD445F63D62}"/>
              </a:ext>
            </a:extLst>
          </p:cNvPr>
          <p:cNvSpPr>
            <a:spLocks/>
          </p:cNvSpPr>
          <p:nvPr/>
        </p:nvSpPr>
        <p:spPr>
          <a:xfrm>
            <a:off x="7618298" y="3922591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grpSp>
        <p:nvGrpSpPr>
          <p:cNvPr id="24" name="CustomIcon">
            <a:extLst>
              <a:ext uri="{FF2B5EF4-FFF2-40B4-BE49-F238E27FC236}">
                <a16:creationId xmlns:a16="http://schemas.microsoft.com/office/drawing/2014/main" id="{AA95AFA7-9A7D-2FD1-5923-EC1B6DEF40DB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8114559" y="3242603"/>
            <a:ext cx="261893" cy="261893"/>
            <a:chOff x="-205105" y="-205105"/>
            <a:chExt cx="1019810" cy="101981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FA095E2-4752-3ADA-1FAB-90077EB91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0B518CF-E6B5-ADAE-5B04-F9CE54A5FE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7" name="CustomIcon">
            <a:extLst>
              <a:ext uri="{FF2B5EF4-FFF2-40B4-BE49-F238E27FC236}">
                <a16:creationId xmlns:a16="http://schemas.microsoft.com/office/drawing/2014/main" id="{A41D9C9A-44E3-38D1-6253-3B18FD94D6D4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8422982" y="3816016"/>
            <a:ext cx="261893" cy="261893"/>
            <a:chOff x="-205105" y="-205105"/>
            <a:chExt cx="1019810" cy="101981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2901621-F9B1-DEA9-E6A0-4A98E8593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AFFCF83-5B1C-B4F4-108E-31F1C6394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94E2445-DC28-76C2-4B91-B2534CCC98BC}"/>
              </a:ext>
            </a:extLst>
          </p:cNvPr>
          <p:cNvSpPr>
            <a:spLocks/>
          </p:cNvSpPr>
          <p:nvPr/>
        </p:nvSpPr>
        <p:spPr>
          <a:xfrm>
            <a:off x="3023389" y="3450297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C4EFC4A-E4E2-134C-9B02-A6786E94A96B}"/>
              </a:ext>
            </a:extLst>
          </p:cNvPr>
          <p:cNvSpPr>
            <a:spLocks/>
          </p:cNvSpPr>
          <p:nvPr/>
        </p:nvSpPr>
        <p:spPr>
          <a:xfrm>
            <a:off x="3639171" y="4123961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 b="1">
                <a:solidFill>
                  <a:schemeClr val="bg1"/>
                </a:solidFill>
              </a:rPr>
              <a:t>Single study </a:t>
            </a:r>
            <a:r>
              <a:rPr lang="en-US" sz="800" i="1">
                <a:solidFill>
                  <a:schemeClr val="bg1"/>
                </a:solidFill>
              </a:rPr>
              <a:t>(invalidating prior results)</a:t>
            </a:r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3CB7B397-2710-F4DF-C8C4-5F9DC540578A}"/>
              </a:ext>
            </a:extLst>
          </p:cNvPr>
          <p:cNvCxnSpPr>
            <a:cxnSpLocks/>
            <a:stCxn id="33" idx="2"/>
            <a:endCxn id="109" idx="2"/>
          </p:cNvCxnSpPr>
          <p:nvPr/>
        </p:nvCxnSpPr>
        <p:spPr>
          <a:xfrm rot="5400000" flipH="1">
            <a:off x="2845931" y="3301054"/>
            <a:ext cx="673665" cy="615782"/>
          </a:xfrm>
          <a:prstGeom prst="bentConnector3">
            <a:avLst>
              <a:gd name="adj1" fmla="val -2020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A0D8ADB1-E0E7-B0FF-0706-480A05518B4F}"/>
              </a:ext>
            </a:extLst>
          </p:cNvPr>
          <p:cNvCxnSpPr>
            <a:cxnSpLocks/>
            <a:stCxn id="34" idx="2"/>
            <a:endCxn id="33" idx="2"/>
          </p:cNvCxnSpPr>
          <p:nvPr/>
        </p:nvCxnSpPr>
        <p:spPr>
          <a:xfrm rot="5400000" flipH="1">
            <a:off x="3461714" y="3974718"/>
            <a:ext cx="673664" cy="615782"/>
          </a:xfrm>
          <a:prstGeom prst="bentConnector3">
            <a:avLst>
              <a:gd name="adj1" fmla="val -1715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10BBB7D4-91D7-284B-2840-203DC5077710}"/>
              </a:ext>
            </a:extLst>
          </p:cNvPr>
          <p:cNvSpPr>
            <a:spLocks/>
          </p:cNvSpPr>
          <p:nvPr/>
        </p:nvSpPr>
        <p:spPr>
          <a:xfrm>
            <a:off x="4180130" y="3450297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E249D1B-FB47-7B95-C8B1-EA2D8E7F8333}"/>
              </a:ext>
            </a:extLst>
          </p:cNvPr>
          <p:cNvSpPr>
            <a:spLocks/>
          </p:cNvSpPr>
          <p:nvPr/>
        </p:nvSpPr>
        <p:spPr>
          <a:xfrm>
            <a:off x="3588347" y="2776631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8C42962-F5CA-55A7-35BA-3EDBC4A24AA4}"/>
              </a:ext>
            </a:extLst>
          </p:cNvPr>
          <p:cNvSpPr>
            <a:spLocks/>
          </p:cNvSpPr>
          <p:nvPr/>
        </p:nvSpPr>
        <p:spPr>
          <a:xfrm>
            <a:off x="2330969" y="1429302"/>
            <a:ext cx="692336" cy="495477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Initial approval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4369B124-3A83-3AED-C33A-BD66B842DA97}"/>
              </a:ext>
            </a:extLst>
          </p:cNvPr>
          <p:cNvCxnSpPr>
            <a:cxnSpLocks/>
            <a:stCxn id="86" idx="3"/>
            <a:endCxn id="97" idx="1"/>
          </p:cNvCxnSpPr>
          <p:nvPr/>
        </p:nvCxnSpPr>
        <p:spPr>
          <a:xfrm flipV="1">
            <a:off x="2726357" y="2350705"/>
            <a:ext cx="233301" cy="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684E4EF-F7C7-B402-3742-8187D2C38BE7}"/>
              </a:ext>
            </a:extLst>
          </p:cNvPr>
          <p:cNvCxnSpPr>
            <a:cxnSpLocks/>
            <a:stCxn id="109" idx="3"/>
            <a:endCxn id="142" idx="1"/>
          </p:cNvCxnSpPr>
          <p:nvPr/>
        </p:nvCxnSpPr>
        <p:spPr>
          <a:xfrm flipV="1">
            <a:off x="3342139" y="3024371"/>
            <a:ext cx="246208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BA9D888C-100F-9E55-7C81-FD035588592A}"/>
              </a:ext>
            </a:extLst>
          </p:cNvPr>
          <p:cNvCxnSpPr>
            <a:cxnSpLocks/>
            <a:stCxn id="33" idx="3"/>
            <a:endCxn id="141" idx="1"/>
          </p:cNvCxnSpPr>
          <p:nvPr/>
        </p:nvCxnSpPr>
        <p:spPr>
          <a:xfrm>
            <a:off x="3957921" y="3698037"/>
            <a:ext cx="22220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152CE490-D902-9E50-1A70-650BA007317D}"/>
              </a:ext>
            </a:extLst>
          </p:cNvPr>
          <p:cNvCxnSpPr>
            <a:cxnSpLocks/>
            <a:stCxn id="97" idx="3"/>
            <a:endCxn id="55" idx="1"/>
          </p:cNvCxnSpPr>
          <p:nvPr/>
        </p:nvCxnSpPr>
        <p:spPr>
          <a:xfrm>
            <a:off x="3651994" y="2350705"/>
            <a:ext cx="1758347" cy="625075"/>
          </a:xfrm>
          <a:prstGeom prst="bentConnector3">
            <a:avLst>
              <a:gd name="adj1" fmla="val 75057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7412535-608E-25AC-4D74-F4208EA02BA8}"/>
              </a:ext>
            </a:extLst>
          </p:cNvPr>
          <p:cNvSpPr>
            <a:spLocks/>
          </p:cNvSpPr>
          <p:nvPr/>
        </p:nvSpPr>
        <p:spPr>
          <a:xfrm>
            <a:off x="848176" y="2100953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58BA6012-570C-301F-6E81-00D73C813DE9}"/>
              </a:ext>
            </a:extLst>
          </p:cNvPr>
          <p:cNvSpPr>
            <a:spLocks/>
          </p:cNvSpPr>
          <p:nvPr/>
        </p:nvSpPr>
        <p:spPr>
          <a:xfrm>
            <a:off x="1491780" y="2774618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8403B2C3-633B-E792-B727-211107BEB1B9}"/>
              </a:ext>
            </a:extLst>
          </p:cNvPr>
          <p:cNvSpPr>
            <a:spLocks/>
          </p:cNvSpPr>
          <p:nvPr/>
        </p:nvSpPr>
        <p:spPr>
          <a:xfrm>
            <a:off x="2135384" y="3448283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C448C3E-CA77-93D4-F7A6-097C148DEC50}"/>
              </a:ext>
            </a:extLst>
          </p:cNvPr>
          <p:cNvSpPr>
            <a:spLocks/>
          </p:cNvSpPr>
          <p:nvPr/>
        </p:nvSpPr>
        <p:spPr>
          <a:xfrm>
            <a:off x="2778986" y="4121947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800">
                <a:solidFill>
                  <a:schemeClr val="tx1"/>
                </a:solidFill>
              </a:rPr>
              <a:t>Dev. submits project to TSP</a:t>
            </a:r>
          </a:p>
        </p:txBody>
      </p: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18D8104F-503F-DF8E-6289-F009357B589E}"/>
              </a:ext>
            </a:extLst>
          </p:cNvPr>
          <p:cNvCxnSpPr>
            <a:cxnSpLocks/>
            <a:stCxn id="170" idx="3"/>
            <a:endCxn id="86" idx="1"/>
          </p:cNvCxnSpPr>
          <p:nvPr/>
        </p:nvCxnSpPr>
        <p:spPr>
          <a:xfrm>
            <a:off x="1428572" y="2349700"/>
            <a:ext cx="363253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4C94D4EA-7270-D662-8BCC-15CD50264198}"/>
              </a:ext>
            </a:extLst>
          </p:cNvPr>
          <p:cNvCxnSpPr>
            <a:cxnSpLocks/>
            <a:stCxn id="171" idx="3"/>
            <a:endCxn id="109" idx="1"/>
          </p:cNvCxnSpPr>
          <p:nvPr/>
        </p:nvCxnSpPr>
        <p:spPr>
          <a:xfrm>
            <a:off x="2072176" y="3023365"/>
            <a:ext cx="335431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E3EA760C-E7DD-E95D-D349-C16CEE828384}"/>
              </a:ext>
            </a:extLst>
          </p:cNvPr>
          <p:cNvCxnSpPr>
            <a:cxnSpLocks/>
            <a:stCxn id="172" idx="3"/>
            <a:endCxn id="33" idx="1"/>
          </p:cNvCxnSpPr>
          <p:nvPr/>
        </p:nvCxnSpPr>
        <p:spPr>
          <a:xfrm>
            <a:off x="2715780" y="3697030"/>
            <a:ext cx="30760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8E81C578-AEF4-BF2F-8680-6C844E5847E2}"/>
              </a:ext>
            </a:extLst>
          </p:cNvPr>
          <p:cNvCxnSpPr>
            <a:cxnSpLocks/>
            <a:stCxn id="174" idx="3"/>
            <a:endCxn id="34" idx="1"/>
          </p:cNvCxnSpPr>
          <p:nvPr/>
        </p:nvCxnSpPr>
        <p:spPr>
          <a:xfrm>
            <a:off x="3359382" y="4370694"/>
            <a:ext cx="27978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EA0987B0-5F53-36C1-ADFC-CCC633F6851B}"/>
              </a:ext>
            </a:extLst>
          </p:cNvPr>
          <p:cNvCxnSpPr>
            <a:cxnSpLocks/>
            <a:stCxn id="142" idx="3"/>
            <a:endCxn id="55" idx="1"/>
          </p:cNvCxnSpPr>
          <p:nvPr/>
        </p:nvCxnSpPr>
        <p:spPr>
          <a:xfrm flipV="1">
            <a:off x="4243777" y="2975780"/>
            <a:ext cx="1166564" cy="4859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XWhite 10">
            <a:extLst>
              <a:ext uri="{FF2B5EF4-FFF2-40B4-BE49-F238E27FC236}">
                <a16:creationId xmlns:a16="http://schemas.microsoft.com/office/drawing/2014/main" id="{4F3695B1-F4A8-3619-7FE3-3C18E54888A7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3764371" y="2243251"/>
            <a:ext cx="214909" cy="214909"/>
            <a:chOff x="1016000" y="1016000"/>
            <a:chExt cx="396228" cy="396228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096F5431-D25F-7775-1D51-688DBFB7054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06" name="Graphic 205">
              <a:extLst>
                <a:ext uri="{FF2B5EF4-FFF2-40B4-BE49-F238E27FC236}">
                  <a16:creationId xmlns:a16="http://schemas.microsoft.com/office/drawing/2014/main" id="{AD9B0FDA-F0E0-AD70-B327-58CEF68C2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211" name="Connector: Elbow 210">
            <a:extLst>
              <a:ext uri="{FF2B5EF4-FFF2-40B4-BE49-F238E27FC236}">
                <a16:creationId xmlns:a16="http://schemas.microsoft.com/office/drawing/2014/main" id="{36D3AD47-30B2-6915-8485-3186D007A51D}"/>
              </a:ext>
            </a:extLst>
          </p:cNvPr>
          <p:cNvCxnSpPr>
            <a:cxnSpLocks/>
            <a:stCxn id="141" idx="3"/>
            <a:endCxn id="55" idx="1"/>
          </p:cNvCxnSpPr>
          <p:nvPr/>
        </p:nvCxnSpPr>
        <p:spPr>
          <a:xfrm flipV="1">
            <a:off x="4835560" y="2975780"/>
            <a:ext cx="574781" cy="722257"/>
          </a:xfrm>
          <a:prstGeom prst="bentConnector3">
            <a:avLst>
              <a:gd name="adj1" fmla="val 214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AF0A0DAB-E677-53F1-FD93-76691B9790FF}"/>
              </a:ext>
            </a:extLst>
          </p:cNvPr>
          <p:cNvCxnSpPr>
            <a:cxnSpLocks/>
            <a:stCxn id="147" idx="3"/>
            <a:endCxn id="55" idx="1"/>
          </p:cNvCxnSpPr>
          <p:nvPr/>
        </p:nvCxnSpPr>
        <p:spPr>
          <a:xfrm>
            <a:off x="3023305" y="1677041"/>
            <a:ext cx="2387036" cy="1298739"/>
          </a:xfrm>
          <a:prstGeom prst="bentConnector3">
            <a:avLst>
              <a:gd name="adj1" fmla="val 87446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XWhite 10">
            <a:extLst>
              <a:ext uri="{FF2B5EF4-FFF2-40B4-BE49-F238E27FC236}">
                <a16:creationId xmlns:a16="http://schemas.microsoft.com/office/drawing/2014/main" id="{6F356FA1-A607-4DC9-87A5-786D411E3D35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4347820" y="2916917"/>
            <a:ext cx="214909" cy="214909"/>
            <a:chOff x="1016000" y="1016000"/>
            <a:chExt cx="396228" cy="396228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79B1A89E-111C-A2EC-23BE-26D714AE718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2" name="Graphic 221">
              <a:extLst>
                <a:ext uri="{FF2B5EF4-FFF2-40B4-BE49-F238E27FC236}">
                  <a16:creationId xmlns:a16="http://schemas.microsoft.com/office/drawing/2014/main" id="{6F960B5F-9D28-A2BC-09B2-BDA9BF62A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3" name="XWhite 10">
            <a:extLst>
              <a:ext uri="{FF2B5EF4-FFF2-40B4-BE49-F238E27FC236}">
                <a16:creationId xmlns:a16="http://schemas.microsoft.com/office/drawing/2014/main" id="{B9C90ECA-F2B3-2018-E0CC-239232D5AEA9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992175" y="3736008"/>
            <a:ext cx="214909" cy="214909"/>
            <a:chOff x="1016000" y="1016000"/>
            <a:chExt cx="396228" cy="396228"/>
          </a:xfrm>
        </p:grpSpPr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30E44CFC-7DA2-BFDF-5C03-7C3DE74FF8B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5" name="Graphic 224">
              <a:extLst>
                <a:ext uri="{FF2B5EF4-FFF2-40B4-BE49-F238E27FC236}">
                  <a16:creationId xmlns:a16="http://schemas.microsoft.com/office/drawing/2014/main" id="{16BAAA55-F33F-F4A9-CC2D-9BAABFFE0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6" name="XWhite 10">
            <a:extLst>
              <a:ext uri="{FF2B5EF4-FFF2-40B4-BE49-F238E27FC236}">
                <a16:creationId xmlns:a16="http://schemas.microsoft.com/office/drawing/2014/main" id="{A007A078-1A9C-9E95-8658-1EC6E16BDC2A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4859140" y="3377113"/>
            <a:ext cx="214909" cy="214909"/>
            <a:chOff x="1016000" y="1016000"/>
            <a:chExt cx="396228" cy="396228"/>
          </a:xfrm>
        </p:grpSpPr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4D663EC4-46D9-28A1-F8CE-047A1ADFBD2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28" name="Graphic 227">
              <a:extLst>
                <a:ext uri="{FF2B5EF4-FFF2-40B4-BE49-F238E27FC236}">
                  <a16:creationId xmlns:a16="http://schemas.microsoft.com/office/drawing/2014/main" id="{E55422E0-CAC7-A116-1B3C-09FB74AB68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9" name="XWhite 10">
            <a:extLst>
              <a:ext uri="{FF2B5EF4-FFF2-40B4-BE49-F238E27FC236}">
                <a16:creationId xmlns:a16="http://schemas.microsoft.com/office/drawing/2014/main" id="{EE3835B2-C297-DF86-872D-80DF57C238EF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>
          <a:xfrm>
            <a:off x="3206046" y="1569586"/>
            <a:ext cx="214909" cy="214909"/>
            <a:chOff x="1016000" y="1016000"/>
            <a:chExt cx="396228" cy="396228"/>
          </a:xfrm>
        </p:grpSpPr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8E5361BB-DC4A-F5B5-D2FD-B0E737406E2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bg1"/>
                </a:solidFill>
              </a:endParaRPr>
            </a:p>
          </p:txBody>
        </p:sp>
        <p:pic>
          <p:nvPicPr>
            <p:cNvPr id="231" name="Graphic 230">
              <a:extLst>
                <a:ext uri="{FF2B5EF4-FFF2-40B4-BE49-F238E27FC236}">
                  <a16:creationId xmlns:a16="http://schemas.microsoft.com/office/drawing/2014/main" id="{B450E570-EBC6-44FF-957A-1ACBCBBFB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34" name="TrackerAlphaWhite 56">
            <a:extLst>
              <a:ext uri="{FF2B5EF4-FFF2-40B4-BE49-F238E27FC236}">
                <a16:creationId xmlns:a16="http://schemas.microsoft.com/office/drawing/2014/main" id="{70921E3F-09F8-5B44-3F5C-BC112846D60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3398573" y="4513344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5" name="TrackerAlphaWhite 56">
            <a:extLst>
              <a:ext uri="{FF2B5EF4-FFF2-40B4-BE49-F238E27FC236}">
                <a16:creationId xmlns:a16="http://schemas.microsoft.com/office/drawing/2014/main" id="{2B398DFC-15FA-7376-BA1B-3B23EC0FC53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2770212" y="3803623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6" name="TrackerAlphaWhite 56">
            <a:extLst>
              <a:ext uri="{FF2B5EF4-FFF2-40B4-BE49-F238E27FC236}">
                <a16:creationId xmlns:a16="http://schemas.microsoft.com/office/drawing/2014/main" id="{FB2C99E3-6338-38AA-1E8D-0723BC77942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2161544" y="311346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37" name="TrackerAlphaWhite 56">
            <a:extLst>
              <a:ext uri="{FF2B5EF4-FFF2-40B4-BE49-F238E27FC236}">
                <a16:creationId xmlns:a16="http://schemas.microsoft.com/office/drawing/2014/main" id="{08B86148-E1AE-07C7-FA98-4A43ED0C7D3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584161" y="2473814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243" name="Right Triangle 242">
            <a:extLst>
              <a:ext uri="{FF2B5EF4-FFF2-40B4-BE49-F238E27FC236}">
                <a16:creationId xmlns:a16="http://schemas.microsoft.com/office/drawing/2014/main" id="{A253CCBC-2DFF-5B11-5DD2-075BAD3CD6BE}"/>
              </a:ext>
            </a:extLst>
          </p:cNvPr>
          <p:cNvSpPr/>
          <p:nvPr/>
        </p:nvSpPr>
        <p:spPr>
          <a:xfrm rot="10800000">
            <a:off x="11385177" y="0"/>
            <a:ext cx="806823" cy="806823"/>
          </a:xfrm>
          <a:prstGeom prst="rtTriangl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142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4B0A4-9A9D-952D-1A2F-D243DBE01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E4B85468-CCB9-4DBC-0F21-D3DA136E40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3" progId="TCLayout.ActiveDocument.1">
                  <p:embed/>
                </p:oleObj>
              </mc:Choice>
              <mc:Fallback>
                <p:oleObj name="think-cell Slide" r:id="rId17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E4B85468-CCB9-4DBC-0F21-D3DA136E4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5041D35E-62DD-8450-501E-2D1486B28C41}"/>
              </a:ext>
            </a:extLst>
          </p:cNvPr>
          <p:cNvSpPr/>
          <p:nvPr/>
        </p:nvSpPr>
        <p:spPr>
          <a:xfrm rot="5400000">
            <a:off x="3534317" y="3054158"/>
            <a:ext cx="5034337" cy="1150706"/>
          </a:xfrm>
          <a:prstGeom prst="triangle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387EC68-4404-EE7D-8977-6B37E72FA53D}"/>
              </a:ext>
            </a:extLst>
          </p:cNvPr>
          <p:cNvSpPr/>
          <p:nvPr/>
        </p:nvSpPr>
        <p:spPr>
          <a:xfrm>
            <a:off x="554806" y="1099335"/>
            <a:ext cx="4941870" cy="5034337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004BF3-54FF-C4AA-7B7B-BDC0DF8DA8B3}"/>
              </a:ext>
            </a:extLst>
          </p:cNvPr>
          <p:cNvSpPr/>
          <p:nvPr/>
        </p:nvSpPr>
        <p:spPr>
          <a:xfrm>
            <a:off x="4805681" y="0"/>
            <a:ext cx="7386319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292D4C-44B9-2562-5A50-9F8800878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038" y="171450"/>
            <a:ext cx="11083925" cy="769441"/>
          </a:xfrm>
        </p:spPr>
        <p:txBody>
          <a:bodyPr vert="horz" wrap="square">
            <a:spAutoFit/>
          </a:bodyPr>
          <a:lstStyle/>
          <a:p>
            <a:r>
              <a:rPr lang="en-US"/>
              <a:t>Insights from a multi-channel stakeholder engagement effort enabled a comprehensive view of stakeholder alignment and open question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0DB050E-8C8F-CEFD-D3C7-A2AAAB0D0B74}"/>
              </a:ext>
            </a:extLst>
          </p:cNvPr>
          <p:cNvGrpSpPr/>
          <p:nvPr/>
        </p:nvGrpSpPr>
        <p:grpSpPr>
          <a:xfrm>
            <a:off x="842413" y="2578572"/>
            <a:ext cx="892099" cy="892099"/>
            <a:chOff x="554736" y="2555614"/>
            <a:chExt cx="892099" cy="89209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37D42D-EB1F-6946-4EE2-0CF8D95FFA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736" y="2555614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phic850746056">
              <a:extLst>
                <a:ext uri="{FF2B5EF4-FFF2-40B4-BE49-F238E27FC236}">
                  <a16:creationId xmlns:a16="http://schemas.microsoft.com/office/drawing/2014/main" id="{325F9167-9644-416A-5DB3-D63BE43D3AB5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34155" y="2735033"/>
              <a:ext cx="533259" cy="533259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1E0B2C0-84A2-8E02-21D1-22F03101A693}"/>
              </a:ext>
            </a:extLst>
          </p:cNvPr>
          <p:cNvGrpSpPr/>
          <p:nvPr/>
        </p:nvGrpSpPr>
        <p:grpSpPr>
          <a:xfrm>
            <a:off x="842413" y="3792505"/>
            <a:ext cx="892099" cy="892099"/>
            <a:chOff x="554736" y="3861384"/>
            <a:chExt cx="892099" cy="89209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879D00F-797E-FDEB-083C-AF0F9991538B}"/>
                </a:ext>
              </a:extLst>
            </p:cNvPr>
            <p:cNvSpPr>
              <a:spLocks/>
            </p:cNvSpPr>
            <p:nvPr/>
          </p:nvSpPr>
          <p:spPr>
            <a:xfrm>
              <a:off x="554736" y="3861384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Graphic267657995">
              <a:extLst>
                <a:ext uri="{FF2B5EF4-FFF2-40B4-BE49-F238E27FC236}">
                  <a16:creationId xmlns:a16="http://schemas.microsoft.com/office/drawing/2014/main" id="{CF9CE1D7-1A2F-A69E-BC0B-F6252BF69B12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34155" y="4040803"/>
              <a:ext cx="533259" cy="533259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918EE9B-895F-E212-BC77-5E52E3A0A855}"/>
              </a:ext>
            </a:extLst>
          </p:cNvPr>
          <p:cNvGrpSpPr/>
          <p:nvPr/>
        </p:nvGrpSpPr>
        <p:grpSpPr>
          <a:xfrm>
            <a:off x="842413" y="5006437"/>
            <a:ext cx="892099" cy="892099"/>
            <a:chOff x="554736" y="5285318"/>
            <a:chExt cx="892099" cy="892099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C41BD57-C761-0D3E-171F-C9EF915471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736" y="5285318"/>
              <a:ext cx="892099" cy="892099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" name="Graphic80386241">
              <a:extLst>
                <a:ext uri="{FF2B5EF4-FFF2-40B4-BE49-F238E27FC236}">
                  <a16:creationId xmlns:a16="http://schemas.microsoft.com/office/drawing/2014/main" id="{6D0CB981-E1A6-3D3C-BC4A-71B4FE59356E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34155" y="5464737"/>
              <a:ext cx="533259" cy="533259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2CA6474-9859-F521-EE2F-458AE62FAA7A}"/>
              </a:ext>
            </a:extLst>
          </p:cNvPr>
          <p:cNvSpPr txBox="1">
            <a:spLocks/>
          </p:cNvSpPr>
          <p:nvPr/>
        </p:nvSpPr>
        <p:spPr>
          <a:xfrm>
            <a:off x="1846825" y="2778401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/3 LLI Batch Study Worksho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6B3C5A-586E-0F10-91DF-9E74AB9A5A02}"/>
              </a:ext>
            </a:extLst>
          </p:cNvPr>
          <p:cNvSpPr txBox="1">
            <a:spLocks/>
          </p:cNvSpPr>
          <p:nvPr/>
        </p:nvSpPr>
        <p:spPr>
          <a:xfrm>
            <a:off x="1846825" y="3992332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ten public com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B2E603-5F1E-CDE9-9400-26404A939D82}"/>
              </a:ext>
            </a:extLst>
          </p:cNvPr>
          <p:cNvSpPr txBox="1">
            <a:spLocks/>
          </p:cNvSpPr>
          <p:nvPr/>
        </p:nvSpPr>
        <p:spPr>
          <a:xfrm>
            <a:off x="1846825" y="5206264"/>
            <a:ext cx="161968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survey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5F215AE-1B5B-8DAA-3F62-FA1EED47434A}"/>
              </a:ext>
            </a:extLst>
          </p:cNvPr>
          <p:cNvGrpSpPr/>
          <p:nvPr/>
        </p:nvGrpSpPr>
        <p:grpSpPr>
          <a:xfrm>
            <a:off x="3633932" y="5057551"/>
            <a:ext cx="2451618" cy="789871"/>
            <a:chOff x="3546689" y="5228710"/>
            <a:chExt cx="2451618" cy="789871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88608F0-3134-B4A1-C2B1-1F841E1CAC8B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5228710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09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0BCD4D6-0EB9-B499-8EFE-5E1CD8BEE317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5803137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Unique respondents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D13A098-3E4F-311C-FC32-8E0954E14A78}"/>
              </a:ext>
            </a:extLst>
          </p:cNvPr>
          <p:cNvGrpSpPr/>
          <p:nvPr/>
        </p:nvGrpSpPr>
        <p:grpSpPr>
          <a:xfrm>
            <a:off x="3633932" y="1308033"/>
            <a:ext cx="2451618" cy="1005314"/>
            <a:chOff x="3546689" y="1208572"/>
            <a:chExt cx="2451618" cy="1005314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3EA1C67-160E-01EF-AF17-3062205C517E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1208572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3600" b="1">
                  <a:solidFill>
                    <a:srgbClr val="00AEC7"/>
                  </a:solidFill>
                </a:rPr>
                <a:t>46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42C961A-09A9-B0D3-384E-DAD67CC459FF}"/>
                </a:ext>
              </a:extLst>
            </p:cNvPr>
            <p:cNvSpPr txBox="1">
              <a:spLocks/>
            </p:cNvSpPr>
            <p:nvPr/>
          </p:nvSpPr>
          <p:spPr>
            <a:xfrm>
              <a:off x="3546689" y="1782999"/>
              <a:ext cx="2451618" cy="43088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>
                  <a:solidFill>
                    <a:srgbClr val="000000"/>
                  </a:solidFill>
                </a:rPr>
                <a:t>Hours spent collecting stakeholder feedback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E613D03-45B8-0650-4916-C8D06DAED068}"/>
              </a:ext>
            </a:extLst>
          </p:cNvPr>
          <p:cNvGrpSpPr/>
          <p:nvPr/>
        </p:nvGrpSpPr>
        <p:grpSpPr>
          <a:xfrm>
            <a:off x="3633932" y="2629687"/>
            <a:ext cx="2451618" cy="789871"/>
            <a:chOff x="9185646" y="2622117"/>
            <a:chExt cx="2451618" cy="78987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FFF58C-3D31-71C4-CA2C-469FE150B1BC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2622117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~10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3E4BAA8-84D1-1753-A5CE-123F27B16589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3196544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Questions received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B15D611-8F89-6831-0981-16885E648D9E}"/>
              </a:ext>
            </a:extLst>
          </p:cNvPr>
          <p:cNvGrpSpPr/>
          <p:nvPr/>
        </p:nvGrpSpPr>
        <p:grpSpPr>
          <a:xfrm>
            <a:off x="3633932" y="3843618"/>
            <a:ext cx="2451618" cy="789871"/>
            <a:chOff x="9185646" y="3804776"/>
            <a:chExt cx="2451618" cy="78987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EE5E67F-EBEE-6C7F-DA39-834604E2C193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3804776"/>
              <a:ext cx="2451618" cy="55399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20+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AA8AA53-81ED-8E7D-C2D6-E587D21195C1}"/>
                </a:ext>
              </a:extLst>
            </p:cNvPr>
            <p:cNvSpPr txBox="1">
              <a:spLocks/>
            </p:cNvSpPr>
            <p:nvPr/>
          </p:nvSpPr>
          <p:spPr>
            <a:xfrm>
              <a:off x="9185646" y="4379203"/>
              <a:ext cx="245161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mentary pages submitted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526451B-E39C-A3B6-49BB-1493FD3A311F}"/>
              </a:ext>
            </a:extLst>
          </p:cNvPr>
          <p:cNvGrpSpPr>
            <a:grpSpLocks/>
          </p:cNvGrpSpPr>
          <p:nvPr/>
        </p:nvGrpSpPr>
        <p:grpSpPr>
          <a:xfrm>
            <a:off x="842413" y="1364641"/>
            <a:ext cx="2624093" cy="892099"/>
            <a:chOff x="554736" y="1265180"/>
            <a:chExt cx="2624093" cy="892099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931B0FD-0017-E459-20D8-5CC9833C34E6}"/>
                </a:ext>
              </a:extLst>
            </p:cNvPr>
            <p:cNvSpPr txBox="1">
              <a:spLocks/>
            </p:cNvSpPr>
            <p:nvPr/>
          </p:nvSpPr>
          <p:spPr>
            <a:xfrm>
              <a:off x="1559148" y="1465008"/>
              <a:ext cx="1619681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  <a:defRPr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Stakeholder interviews (60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05652E1-F2B6-A0E2-BEA9-6152F8DBF8CB}"/>
                </a:ext>
              </a:extLst>
            </p:cNvPr>
            <p:cNvGrpSpPr/>
            <p:nvPr/>
          </p:nvGrpSpPr>
          <p:grpSpPr>
            <a:xfrm>
              <a:off x="554736" y="1265180"/>
              <a:ext cx="892099" cy="892099"/>
              <a:chOff x="554736" y="1265180"/>
              <a:chExt cx="892099" cy="892099"/>
            </a:xfrm>
          </p:grpSpPr>
          <p:pic>
            <p:nvPicPr>
              <p:cNvPr id="95" name="Graphic80386241">
                <a:extLst>
                  <a:ext uri="{FF2B5EF4-FFF2-40B4-BE49-F238E27FC236}">
                    <a16:creationId xmlns:a16="http://schemas.microsoft.com/office/drawing/2014/main" id="{3F2A7F9C-7499-E8BA-6F75-D8210D0A997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1"/>
                </p:custDataLst>
              </p:nvPr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734155" y="1444599"/>
                <a:ext cx="533259" cy="533259"/>
              </a:xfrm>
              <a:prstGeom prst="rect">
                <a:avLst/>
              </a:prstGeom>
            </p:spPr>
          </p:pic>
          <p:grpSp>
            <p:nvGrpSpPr>
              <p:cNvPr id="114" name="CustomIcon">
                <a:extLst>
                  <a:ext uri="{FF2B5EF4-FFF2-40B4-BE49-F238E27FC236}">
                    <a16:creationId xmlns:a16="http://schemas.microsoft.com/office/drawing/2014/main" id="{F97993C1-F783-4D96-B92A-FC756D3A8ABE}"/>
                  </a:ext>
                </a:extLst>
              </p:cNvPr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>
              <a:xfrm>
                <a:off x="554736" y="1265180"/>
                <a:ext cx="892099" cy="892099"/>
                <a:chOff x="-205105" y="-205105"/>
                <a:chExt cx="1019810" cy="1019810"/>
              </a:xfrm>
            </p:grpSpPr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A381D79E-C39E-3361-6BC5-D1470AFB78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205105" y="-205105"/>
                  <a:ext cx="1019810" cy="1019810"/>
                </a:xfrm>
                <a:prstGeom prst="ellipse">
                  <a:avLst/>
                </a:prstGeom>
                <a:solidFill>
                  <a:schemeClr val="accent1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600" err="1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111" name="Graphic 110">
                  <a:extLst>
                    <a:ext uri="{FF2B5EF4-FFF2-40B4-BE49-F238E27FC236}">
                      <a16:creationId xmlns:a16="http://schemas.microsoft.com/office/drawing/2014/main" id="{53821DF5-8CF5-D8F4-DFA1-A58379049E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0" y="0"/>
                  <a:ext cx="609600" cy="6096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93CA008-C1D1-3435-A43B-7DB8B39B2695}"/>
              </a:ext>
            </a:extLst>
          </p:cNvPr>
          <p:cNvGrpSpPr/>
          <p:nvPr/>
        </p:nvGrpSpPr>
        <p:grpSpPr>
          <a:xfrm>
            <a:off x="6880229" y="1160979"/>
            <a:ext cx="4780940" cy="296096"/>
            <a:chOff x="6880229" y="1160979"/>
            <a:chExt cx="4780940" cy="29609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41844FF-7CB3-2086-0B69-E7AB798F9C48}"/>
                </a:ext>
              </a:extLst>
            </p:cNvPr>
            <p:cNvSpPr txBox="1"/>
            <p:nvPr/>
          </p:nvSpPr>
          <p:spPr>
            <a:xfrm>
              <a:off x="6880229" y="1160979"/>
              <a:ext cx="406400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Areas of strong stakeholder alignment</a:t>
              </a:r>
            </a:p>
          </p:txBody>
        </p:sp>
        <p:cxnSp>
          <p:nvCxnSpPr>
            <p:cNvPr id="40" name="LineBasicStrong 40">
              <a:extLst>
                <a:ext uri="{FF2B5EF4-FFF2-40B4-BE49-F238E27FC236}">
                  <a16:creationId xmlns:a16="http://schemas.microsoft.com/office/drawing/2014/main" id="{20A5FC04-6050-F1C7-90CE-5E1748814A5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6880229" y="1457075"/>
              <a:ext cx="4780940" cy="0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F895F3E-42AD-4AE0-900E-E0FA79C62FDA}"/>
              </a:ext>
            </a:extLst>
          </p:cNvPr>
          <p:cNvGrpSpPr/>
          <p:nvPr/>
        </p:nvGrpSpPr>
        <p:grpSpPr>
          <a:xfrm>
            <a:off x="6880229" y="3905589"/>
            <a:ext cx="4780940" cy="291819"/>
            <a:chOff x="6880229" y="4021472"/>
            <a:chExt cx="4780940" cy="29181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793103E-79B2-8160-E3E8-0717DB491632}"/>
                </a:ext>
              </a:extLst>
            </p:cNvPr>
            <p:cNvSpPr txBox="1"/>
            <p:nvPr/>
          </p:nvSpPr>
          <p:spPr>
            <a:xfrm>
              <a:off x="6880229" y="4021472"/>
              <a:ext cx="446935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Key open questions requiring resolution</a:t>
              </a:r>
            </a:p>
          </p:txBody>
        </p:sp>
        <p:cxnSp>
          <p:nvCxnSpPr>
            <p:cNvPr id="43" name="LineBasicStrong 40">
              <a:extLst>
                <a:ext uri="{FF2B5EF4-FFF2-40B4-BE49-F238E27FC236}">
                  <a16:creationId xmlns:a16="http://schemas.microsoft.com/office/drawing/2014/main" id="{C26F9D2A-46FA-8EEC-CBE1-07DF8B9F43CE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6880229" y="4313291"/>
              <a:ext cx="4780940" cy="0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E83A778-8870-44F9-5743-C7192914A838}"/>
              </a:ext>
            </a:extLst>
          </p:cNvPr>
          <p:cNvGrpSpPr/>
          <p:nvPr/>
        </p:nvGrpSpPr>
        <p:grpSpPr>
          <a:xfrm>
            <a:off x="6892927" y="4310313"/>
            <a:ext cx="4768242" cy="492443"/>
            <a:chOff x="6892927" y="4310313"/>
            <a:chExt cx="4768242" cy="49244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C790602-912E-D6AB-19DB-B72823D7CB74}"/>
                </a:ext>
              </a:extLst>
            </p:cNvPr>
            <p:cNvSpPr txBox="1"/>
            <p:nvPr/>
          </p:nvSpPr>
          <p:spPr>
            <a:xfrm>
              <a:off x="7017249" y="4310313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CLR/BYOG/co-located generation should be treated </a:t>
              </a:r>
              <a:r>
                <a:rPr lang="en-US"/>
                <a:t>within the batch study</a:t>
              </a:r>
              <a:endParaRPr lang="en-US" b="1"/>
            </a:p>
          </p:txBody>
        </p:sp>
        <p:sp>
          <p:nvSpPr>
            <p:cNvPr id="30" name="TrackerNumBlue 25">
              <a:extLst>
                <a:ext uri="{FF2B5EF4-FFF2-40B4-BE49-F238E27FC236}">
                  <a16:creationId xmlns:a16="http://schemas.microsoft.com/office/drawing/2014/main" id="{8C9E4688-F8F7-B1B7-15E9-83FF56C28F9B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892927" y="4310313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50" name="5. Source">
            <a:extLst>
              <a:ext uri="{FF2B5EF4-FFF2-40B4-BE49-F238E27FC236}">
                <a16:creationId xmlns:a16="http://schemas.microsoft.com/office/drawing/2014/main" id="{5C9141E7-C98D-4DD3-474B-7B6C306BD1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125590" y="6568588"/>
            <a:ext cx="937119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Batch Study Process for Large Load Interconnections Workshop, </a:t>
            </a:r>
            <a:r>
              <a:rPr lang="en-US"/>
              <a:t>ERCOT Large Load Interconnection Batch Study Process Stakeholder Survey</a:t>
            </a:r>
            <a:r>
              <a:rPr lang="en-US">
                <a:solidFill>
                  <a:srgbClr val="000000"/>
                </a:solidFill>
                <a:latin typeface="Arial"/>
              </a:rPr>
              <a:t>, public written comments, stakeholder interview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AE785AD-4456-B268-9958-DEF7F8641103}"/>
              </a:ext>
            </a:extLst>
          </p:cNvPr>
          <p:cNvGrpSpPr/>
          <p:nvPr/>
        </p:nvGrpSpPr>
        <p:grpSpPr>
          <a:xfrm>
            <a:off x="6892927" y="1595098"/>
            <a:ext cx="4768242" cy="492443"/>
            <a:chOff x="6892927" y="1595098"/>
            <a:chExt cx="4768242" cy="492443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E9780A1-29B8-5D6D-8DD9-DCAA66AAB9A0}"/>
                </a:ext>
              </a:extLst>
            </p:cNvPr>
            <p:cNvSpPr txBox="1"/>
            <p:nvPr/>
          </p:nvSpPr>
          <p:spPr>
            <a:xfrm>
              <a:off x="7017249" y="1595098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A ~6-month batch study cadence </a:t>
              </a:r>
              <a:r>
                <a:rPr lang="en-US"/>
                <a:t>is viewed as good balance between speed and analytical rigor</a:t>
              </a:r>
            </a:p>
          </p:txBody>
        </p:sp>
        <p:sp>
          <p:nvSpPr>
            <p:cNvPr id="58" name="TrackerNumBlue 25">
              <a:extLst>
                <a:ext uri="{FF2B5EF4-FFF2-40B4-BE49-F238E27FC236}">
                  <a16:creationId xmlns:a16="http://schemas.microsoft.com/office/drawing/2014/main" id="{BCBB91F3-66F5-536C-95AC-8FB9B1D55CF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6892927" y="1595098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FE8A21A-9A39-59AA-0F81-430B1794243B}"/>
              </a:ext>
            </a:extLst>
          </p:cNvPr>
          <p:cNvGrpSpPr/>
          <p:nvPr/>
        </p:nvGrpSpPr>
        <p:grpSpPr>
          <a:xfrm>
            <a:off x="6892927" y="2282264"/>
            <a:ext cx="4768242" cy="492443"/>
            <a:chOff x="6892927" y="2454841"/>
            <a:chExt cx="4768242" cy="492443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8608756-F055-E3A6-4713-91EB3878DC54}"/>
                </a:ext>
              </a:extLst>
            </p:cNvPr>
            <p:cNvSpPr txBox="1"/>
            <p:nvPr/>
          </p:nvSpPr>
          <p:spPr>
            <a:xfrm>
              <a:off x="7017249" y="2454841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More proactive, structured, and transparent communication is essential</a:t>
              </a:r>
            </a:p>
          </p:txBody>
        </p:sp>
        <p:sp>
          <p:nvSpPr>
            <p:cNvPr id="60" name="TrackerNumBlue 25">
              <a:extLst>
                <a:ext uri="{FF2B5EF4-FFF2-40B4-BE49-F238E27FC236}">
                  <a16:creationId xmlns:a16="http://schemas.microsoft.com/office/drawing/2014/main" id="{BD7470F4-56F2-531D-D843-2E57E9293F6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6892927" y="2454841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E3C2FD6-C886-D3A0-31AF-20826FAA740C}"/>
              </a:ext>
            </a:extLst>
          </p:cNvPr>
          <p:cNvGrpSpPr/>
          <p:nvPr/>
        </p:nvGrpSpPr>
        <p:grpSpPr>
          <a:xfrm>
            <a:off x="6892927" y="2969431"/>
            <a:ext cx="4768242" cy="738664"/>
            <a:chOff x="6892927" y="3054919"/>
            <a:chExt cx="4768242" cy="738664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65A8BA4-3573-5236-1A41-C9E13828EC5C}"/>
                </a:ext>
              </a:extLst>
            </p:cNvPr>
            <p:cNvSpPr txBox="1"/>
            <p:nvPr/>
          </p:nvSpPr>
          <p:spPr>
            <a:xfrm>
              <a:off x="7017249" y="3054919"/>
              <a:ext cx="4643920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Batch Zero eligibility should also consider operational readiness and TSP submission date </a:t>
              </a:r>
              <a:r>
                <a:rPr lang="en-US"/>
                <a:t>along with financial commitment</a:t>
              </a:r>
              <a:endParaRPr lang="en-US" b="1"/>
            </a:p>
          </p:txBody>
        </p:sp>
        <p:sp>
          <p:nvSpPr>
            <p:cNvPr id="61" name="TrackerNumBlue 25">
              <a:extLst>
                <a:ext uri="{FF2B5EF4-FFF2-40B4-BE49-F238E27FC236}">
                  <a16:creationId xmlns:a16="http://schemas.microsoft.com/office/drawing/2014/main" id="{D27AC750-668A-40E3-DD3A-0656897AB63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6892927" y="3060639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22672A9-CCDD-0690-24FF-9A67E67B2272}"/>
              </a:ext>
            </a:extLst>
          </p:cNvPr>
          <p:cNvGrpSpPr/>
          <p:nvPr/>
        </p:nvGrpSpPr>
        <p:grpSpPr>
          <a:xfrm>
            <a:off x="6892927" y="5009805"/>
            <a:ext cx="4768242" cy="492443"/>
            <a:chOff x="6892927" y="4996470"/>
            <a:chExt cx="4768242" cy="492443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EA41993-2AC7-905B-8E8E-6570F2C633AA}"/>
                </a:ext>
              </a:extLst>
            </p:cNvPr>
            <p:cNvSpPr txBox="1"/>
            <p:nvPr/>
          </p:nvSpPr>
          <p:spPr>
            <a:xfrm>
              <a:off x="7017249" y="4996470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ERCOT will ensure consistency in timelines/study assumptions </a:t>
              </a:r>
              <a:r>
                <a:rPr lang="en-US"/>
                <a:t>across T(D)SPs</a:t>
              </a:r>
              <a:endParaRPr lang="en-US" b="1"/>
            </a:p>
          </p:txBody>
        </p:sp>
        <p:sp>
          <p:nvSpPr>
            <p:cNvPr id="71" name="TrackerNumBlue 25">
              <a:extLst>
                <a:ext uri="{FF2B5EF4-FFF2-40B4-BE49-F238E27FC236}">
                  <a16:creationId xmlns:a16="http://schemas.microsoft.com/office/drawing/2014/main" id="{AEAD1570-0C4D-F46D-9CCE-3A686324700E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892927" y="4996470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5D71047-BEEA-7E1E-7C26-BB43F8789D92}"/>
              </a:ext>
            </a:extLst>
          </p:cNvPr>
          <p:cNvGrpSpPr/>
          <p:nvPr/>
        </p:nvGrpSpPr>
        <p:grpSpPr>
          <a:xfrm>
            <a:off x="6892927" y="5709296"/>
            <a:ext cx="4768242" cy="492443"/>
            <a:chOff x="6892927" y="5554471"/>
            <a:chExt cx="4768242" cy="492443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FBD1A01-BEF3-6136-7DF7-8D5B7EB98C13}"/>
                </a:ext>
              </a:extLst>
            </p:cNvPr>
            <p:cNvSpPr txBox="1"/>
            <p:nvPr/>
          </p:nvSpPr>
          <p:spPr>
            <a:xfrm>
              <a:off x="7017249" y="5554471"/>
              <a:ext cx="464392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b="1"/>
                <a:t>How Batch Zero will link directly to actionable RPG </a:t>
              </a:r>
              <a:r>
                <a:rPr lang="en-US"/>
                <a:t>transmission approvals</a:t>
              </a:r>
              <a:endParaRPr lang="en-US" b="1"/>
            </a:p>
          </p:txBody>
        </p:sp>
        <p:sp>
          <p:nvSpPr>
            <p:cNvPr id="77" name="TrackerNumBlue 25">
              <a:extLst>
                <a:ext uri="{FF2B5EF4-FFF2-40B4-BE49-F238E27FC236}">
                  <a16:creationId xmlns:a16="http://schemas.microsoft.com/office/drawing/2014/main" id="{414B7587-F058-FF81-385D-A806B0CD510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892927" y="5554471"/>
              <a:ext cx="253945" cy="253945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400" b="1">
                  <a:solidFill>
                    <a:schemeClr val="bg1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7120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3826B2-E332-DD9D-42DC-D83EA86B7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6" hidden="1">
            <a:extLst>
              <a:ext uri="{FF2B5EF4-FFF2-40B4-BE49-F238E27FC236}">
                <a16:creationId xmlns:a16="http://schemas.microsoft.com/office/drawing/2014/main" id="{920AD84E-ADB1-5A2F-7572-17B67CA5BC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3" imgW="404" imgH="405" progId="TCLayout.ActiveDocument.1">
                  <p:embed/>
                </p:oleObj>
              </mc:Choice>
              <mc:Fallback>
                <p:oleObj name="think-cell Slide" r:id="rId113" imgW="404" imgH="405" progId="TCLayout.ActiveDocument.1">
                  <p:embed/>
                  <p:pic>
                    <p:nvPicPr>
                      <p:cNvPr id="81" name="Object 6" hidden="1">
                        <a:extLst>
                          <a:ext uri="{FF2B5EF4-FFF2-40B4-BE49-F238E27FC236}">
                            <a16:creationId xmlns:a16="http://schemas.microsoft.com/office/drawing/2014/main" id="{920AD84E-ADB1-5A2F-7572-17B67CA5B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A7AF912-DC44-0543-71E9-50ABBA90EF6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Batch Zero revision request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3BF0A1A-1140-676C-D10A-12F75F74F88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36725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200">
                <a:solidFill>
                  <a:schemeClr val="tx1"/>
                </a:solidFill>
              </a:rPr>
              <a:t>Forum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904E176-F400-12C8-B2F5-AE375884F52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046288"/>
            <a:ext cx="991186" cy="30797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>
                <a:solidFill>
                  <a:schemeClr val="tx1"/>
                </a:solidFill>
              </a:rPr>
              <a:t>Workshops and working group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18DEB2-F8D1-F5B8-9FF9-E36FAA9C45D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4736" y="3954463"/>
            <a:ext cx="991186" cy="46037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>
                <a:solidFill>
                  <a:schemeClr val="tx1"/>
                </a:solidFill>
              </a:rPr>
              <a:t>PRS (Protocols Review Subcommittee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539369B-99EE-151A-3447-C647308D65B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4736" y="4540250"/>
            <a:ext cx="1072072" cy="4619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>
                <a:solidFill>
                  <a:schemeClr val="tx1"/>
                </a:solidFill>
              </a:rPr>
              <a:t>ROS (Reliability and Operations Subcommittee)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043929F-FEC9-C514-2524-AFE2CB6729A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5126038"/>
            <a:ext cx="99118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>
                <a:solidFill>
                  <a:schemeClr val="tx1"/>
                </a:solidFill>
              </a:rPr>
              <a:t>TAC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BA28F28-6477-82D1-0164-663F68C3B3F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54736" y="5453063"/>
            <a:ext cx="99118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>
                <a:solidFill>
                  <a:schemeClr val="tx1"/>
                </a:solidFill>
              </a:rPr>
              <a:t>ERCOT Board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2549C8EF-EC03-D222-6625-4FFF2B18876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257300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E296299-5773-4028-B143-277AD23565B4}" type="datetime'''''''''''2''''''''''''0''''''''2''''''''''''''''6''''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200" b="1">
              <a:cs typeface="+mn-cs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58E91CCB-F168-62CE-8735-7A055D39215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754688" y="1493838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FEC6E0A-2ED5-421E-943A-B062578FE2D4}" type="datetime'''''''Q''''''''''''''''''''''''''''''''1''''''''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lang="en-US" sz="1200" b="1">
              <a:cs typeface="+mn-cs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8EE09A07-E753-9CB3-E84F-EC8FFDBA90F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493838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8CA2D1-FFC0-4DDF-9587-941655033DE4}" type="datetime'''''''''''''''''''''''''''Q''''''''''''''''''''''''''2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lang="en-US" sz="1200" b="1">
              <a:cs typeface="+mn-cs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8466413D-B93D-8173-9276-6643287CDD2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629901" y="1493838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7F866B-87F8-469E-B6E1-D29AC806C38E}" type="datetime'''''Q''3''''''''''''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lang="en-US" sz="1200" b="1">
              <a:cs typeface="+mn-cs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A2FFBABA-A810-F857-5AFB-753F824FC24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54688" y="1730375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1B9393D-6391-4641-9468-1060D1B60B23}" type="datetime'''''''''''''''''''''''''''''''''F''''e''''''''b'''''">
              <a:rPr lang="en-US" altLang="en-US" sz="12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200" b="1">
              <a:cs typeface="+mn-cs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0C0EEC4C-DB80-2178-5615-9CC12DC2AF7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64325" y="17303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F2E445D-5811-4845-9588-AA2E924C923D}" type="datetime'''''''''''''''M''''''''''''''''a''''''''''''r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200" b="1">
              <a:cs typeface="+mn-cs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76DDA446-8239-7793-69F7-2E24550F549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72388" y="1730375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2D19FDB-AFEC-4FBA-8013-2B007393C6CD}" type="datetime'''''''''''''''Ap''''''''''''''r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US" sz="1200" b="1">
              <a:cs typeface="+mn-cs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82C92EFA-E2C0-8F15-83F4-DA19C957992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647113" y="17303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98AC88C-4A98-494C-A76D-C80AC574E163}" type="datetime'''''''''''''''M''ay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US" sz="1200" b="1">
              <a:cs typeface="+mn-cs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39960B8C-2F11-C40F-512F-07AA6F0E3FA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55175" y="1730375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2A46E6-6AD6-444C-B063-17AE79DB1410}" type="datetime'''''J''''''''''''''''''''''''''''u''n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US" sz="1200" b="1">
              <a:cs typeface="+mn-cs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F1DDE9D2-C940-89E7-8FDA-705E1175675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629900" y="17303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57D571-C5D9-441B-A6EC-77E3AA730126}" type="datetime'''''''''''''''''Ju''''''''''l'''''''''''''''''''''">
              <a:rPr lang="en-US" altLang="en-US" sz="12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lang="en-US" sz="1200" b="1"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3976514-5ECA-7CB8-7FE2-47E29DA8C1B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5699125" y="1493838"/>
            <a:ext cx="59388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5CECD70-0894-C898-D2C2-4AF7046BC25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5699125" y="1730375"/>
            <a:ext cx="1973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3DDDB5C-C0D6-31F9-85BD-38D8E9587ED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7616825" y="1730375"/>
            <a:ext cx="3013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9AE787C-CBA6-ABCA-4802-E6348A495D8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10574339" y="1730375"/>
            <a:ext cx="1063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9C6A8BD-1697-D981-8B4F-D29A6CBAF2F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637963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B73EAF05-6574-9475-4450-3B1545A9EA2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754688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AAA6A68A-3AA0-FFD0-4111-31E3CF3D686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629900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1718907E-8A19-1814-3A85-AB9D30A5EAF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647113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2866084-74D4-9AD0-14B5-E8BEF183DD8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672388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3F6A92E0-DE3C-C531-D111-CCDB0FFCA62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664325" y="1966913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FB99A233-6AA6-B9A1-6F0B-6F31B4348B8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754688" y="5070475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80F2024D-4484-175B-0AAE-E571A0D9817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754688" y="4492625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F691D82E-87AA-A715-97A0-EBAE45B9A1A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754688" y="3914775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1CFCC3F9-D3E2-21CE-9223-4762B0D5DA8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754688" y="5375275"/>
            <a:ext cx="5883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0E52192-7C8F-FC1B-82A1-06F56A170A9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754688" y="5680075"/>
            <a:ext cx="5883275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400F301-781D-C616-5F8C-DD5B7E71725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9655175" y="1966913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478E8F2-683C-EE88-C221-EE54150511E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11637963" y="1966913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971C443-0E9F-1B46-721F-8BFAB7F9C94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7834313" y="1966913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CF00C4-82A7-1E4D-505B-DEA67B7E56D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6762750" y="1966913"/>
            <a:ext cx="0" cy="386715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04C99BF-CE1A-3638-F141-B00048A7349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5754688" y="1966913"/>
            <a:ext cx="5883275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17927F80-3460-7F19-465D-E4C6E931F617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753475" y="3970338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E703DF16-D83F-5127-7D3C-65F909C774A9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1549063" y="5745163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0AF2A60-04F4-7ED4-E265-7D77E1F22A50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266113" y="3970338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5A8258EF-AE10-5CC6-4F13-350BF72F147D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339263" y="5126038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745891CE-802C-F39D-B0F5-4BECB3157ABE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566275" y="5745163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A248E134-DDF8-B05E-12D2-500A11542CA5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948738" y="5126038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4DAF66ED-A91E-BADA-41AE-41152A511A36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616825" y="4548188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512B0E9-2673-0CFE-A0EE-E0E5BECCEEF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039100" y="3970338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503CFDD7-FF10-1EA5-7727-1EE8376C1256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745413" y="5745163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1F447338-C3C6-A5AA-7C51-2048BE858DEF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566275" y="5430838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9E046D20-F99C-2912-7170-666668B365C1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7745413" y="36655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20BA34A2-0383-BCF5-CD14-4FD58CA27DFD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6705600" y="4548188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1A0C1CE5-1E77-BC41-6A6A-4618B9E0969A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6900863" y="3970338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3861AFE2-50F8-B531-25CE-A2654840DE6E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7518400" y="33909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DD6B0B1B-6BDF-0B30-6BD8-191F91F189B5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8753475" y="48228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93FEB67B-7A23-A7CF-5AE7-FDBA50D55A59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8428038" y="5126038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2EE5BA75-AAAB-034F-5BF3-207966B02717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7291388" y="31178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387367B-5440-36CA-D7E5-F4C4BD0C5C03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8201025" y="5430838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F4366A04-2877-96DE-D78D-58DC147E5A5A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835775" y="284321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55324AA1-BBD3-1F82-3BCE-F8615471E0F8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6445250" y="25701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9AEB44B2-D4FC-E04B-A3CA-11AB96636B59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022975" y="20224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03B35035-D71B-7A4C-666C-68E9E4F5EB9E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251575" y="229552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3A5356BF-CDC7-D19C-61EF-4AB7CC636D5F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6673850" y="5745163"/>
            <a:ext cx="177800" cy="177800"/>
          </a:xfrm>
          <a:prstGeom prst="triangle">
            <a:avLst/>
          </a:prstGeom>
          <a:solidFill>
            <a:schemeClr val="accent5"/>
          </a:solidFill>
          <a:ln w="9525" cap="sq" cmpd="sng" algn="ctr">
            <a:solidFill>
              <a:schemeClr val="accent5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103A4B7-4570-0F9F-0840-7530C6B2614F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8753475" y="4243388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AE2C237C-7081-BAAD-4A29-246FF5457C8D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>
          <a:xfrm>
            <a:off x="554735" y="1966913"/>
            <a:ext cx="5232613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2A3B1D64-9228-2D68-8D3B-E19B1D413167}"/>
              </a:ext>
            </a:extLst>
          </p:cNvPr>
          <p:cNvCxnSpPr>
            <a:cxnSpLocks/>
          </p:cNvCxnSpPr>
          <p:nvPr>
            <p:custDataLst>
              <p:tags r:id="rId64"/>
            </p:custDataLst>
          </p:nvPr>
        </p:nvCxnSpPr>
        <p:spPr>
          <a:xfrm>
            <a:off x="554735" y="5680075"/>
            <a:ext cx="5232613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B18F2D1-A457-233D-487F-6E34DB506C36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6" y="3916363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B3FD3FD9-A806-86D0-80DD-7914BDFD273C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>
          <a:xfrm>
            <a:off x="554736" y="4497388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76AFD6B4-3D50-34CA-D57E-8597C2A4F64B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>
          <a:xfrm>
            <a:off x="554736" y="5072063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EDDF20CE-56D8-6890-DC54-69E5464CFE84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>
          <a:xfrm>
            <a:off x="554736" y="5376863"/>
            <a:ext cx="5199950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3AEB2C21-C4BF-C473-4DF4-ECA2DE788C61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>
          <a:xfrm>
            <a:off x="6232467" y="1992313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E187116C-8691-1BDC-4586-4633889DBDCB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>
          <a:xfrm>
            <a:off x="7023099" y="280670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4 Mar 10</a:t>
            </a:r>
            <a:endParaRPr lang="en-US" sz="800" b="0" i="1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6DDF8108-AB7C-6423-2132-29E6796CCD81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7474813" y="306228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5 Mar 24</a:t>
            </a:r>
            <a:endParaRPr lang="en-US" sz="800" b="0" i="1">
              <a:solidFill>
                <a:schemeClr val="tx1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D04B5A7-C080-30C1-22EE-3A3C9DED6EC3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7719270" y="3338513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6 Mar 30</a:t>
            </a:r>
            <a:endParaRPr lang="en-US" sz="800" b="0" i="1">
              <a:solidFill>
                <a:schemeClr val="tx1"/>
              </a:solidFill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FD1D29BE-8C95-504A-F190-1571AEFD57BC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6267886" y="3944938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PRS Update </a:t>
            </a:r>
            <a:r>
              <a:rPr lang="en-US" sz="800" b="0">
                <a:solidFill>
                  <a:schemeClr val="tx1"/>
                </a:solidFill>
              </a:rPr>
              <a:t>3/11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8788F7B-D973-F7A6-71D1-DB97CBE20DDF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6936527" y="451802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OS Update </a:t>
            </a:r>
            <a:r>
              <a:rPr lang="en-US" sz="800" b="0">
                <a:solidFill>
                  <a:schemeClr val="tx1"/>
                </a:solidFill>
              </a:rPr>
              <a:t>3/5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FFD5DBCE-E663-FAD3-E94C-9FE874DB88D8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>
          <a:xfrm>
            <a:off x="8978787" y="4799013"/>
            <a:ext cx="500062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OS Vote </a:t>
            </a:r>
            <a:r>
              <a:rPr lang="en-US" sz="800" b="0">
                <a:solidFill>
                  <a:schemeClr val="tx1"/>
                </a:solidFill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06AB64A5-64E4-AD21-D087-D1D702576C50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>
          <a:xfrm>
            <a:off x="9832975" y="5400675"/>
            <a:ext cx="615682" cy="2460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Board  Vote </a:t>
            </a:r>
            <a:r>
              <a:rPr lang="en-US" sz="800" b="0">
                <a:solidFill>
                  <a:schemeClr val="tx1"/>
                </a:solidFill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39A810-DD4A-D980-AAE7-FDAC33508954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>
          <a:xfrm>
            <a:off x="5453812" y="5780088"/>
            <a:ext cx="1133475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rgbClr val="000000"/>
                </a:solidFill>
              </a:rPr>
              <a:t>3/4 </a:t>
            </a:r>
            <a:r>
              <a:rPr lang="en-US" sz="800" b="0">
                <a:solidFill>
                  <a:srgbClr val="000000"/>
                </a:solidFill>
              </a:rPr>
              <a:t>ERCOT files Batch Zero Revision Request(s)</a:t>
            </a:r>
            <a:endParaRPr lang="en-US" sz="800" b="0">
              <a:solidFill>
                <a:schemeClr val="tx1"/>
              </a:solidFill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8A62E3F4-519E-6A1A-13A4-50F6F4095680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>
          <a:xfrm>
            <a:off x="5753989" y="3057525"/>
            <a:ext cx="5883275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F8A369CF-4655-1B72-50C7-C61134616407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5753989" y="3605213"/>
            <a:ext cx="5883275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83AED087-EB1E-E065-9642-0BD3B390BB5E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1659467" y="2268538"/>
            <a:ext cx="997779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31758FE0-EAB2-570D-2DD9-28E65B8BB6E5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1659467" y="2532063"/>
            <a:ext cx="997779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9A92AEE4-C534-25FD-230B-0B5081509A8F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59467" y="2794000"/>
            <a:ext cx="997779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19B2F64D-27EA-CBE8-4AC8-28CC0EE9F992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>
          <a:xfrm>
            <a:off x="5753989" y="3324225"/>
            <a:ext cx="5881079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9F76AEED-5F0C-A2AA-A103-1BFD8D703452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>
          <a:xfrm>
            <a:off x="1659467" y="4206875"/>
            <a:ext cx="997779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BD34C847-E8BE-C9E5-1A9D-E599B4BA9F2D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>
          <a:xfrm>
            <a:off x="1659467" y="4778375"/>
            <a:ext cx="997779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1B2AB94C-F68E-C8D0-CD78-A4799757C390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>
          <a:xfrm>
            <a:off x="10600219" y="5780088"/>
            <a:ext cx="948843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rgbClr val="000000"/>
                </a:solidFill>
              </a:rPr>
              <a:t>8/1 </a:t>
            </a:r>
            <a:r>
              <a:rPr lang="en-US" sz="800" b="0">
                <a:solidFill>
                  <a:srgbClr val="000000"/>
                </a:solidFill>
              </a:rPr>
              <a:t>Target effective date of protocol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713876C-0647-910C-CA1A-469129FA741B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1646233" y="1736725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200">
                <a:solidFill>
                  <a:schemeClr val="tx1"/>
                </a:solidFill>
              </a:rPr>
              <a:t>Objectiv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47616BA-6DC7-D74E-0393-EE64FD72D14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1646232" y="2046288"/>
            <a:ext cx="3859215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Align stakeholders on direction/scope following Commission decision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C78D9BF6-BB8F-656C-8A09-3B89405C83D9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1646232" y="2312988"/>
            <a:ext cx="3697289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Define the scope, boundaries, and intended role of Batch Zero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DAFA9FE-4291-AC67-1B2A-E69B5F0917C9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1646232" y="2590800"/>
            <a:ext cx="4093323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Preview structure/governing concepts of Batch Zero NPRR before filing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C39B34ED-7E84-72D1-CBE4-CF09527E1BFC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1646232" y="3984625"/>
            <a:ext cx="3925889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Confirm proposed protocol changes are ready for governance review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7690D9AD-AA19-4AD9-9FBC-0B86BAA815C2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1646232" y="4281488"/>
            <a:ext cx="4116391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Endorse NPRR 1325 for advancement to TAC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05A16FF8-49A7-BE38-D4EC-009F88C16C48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1646232" y="4578350"/>
            <a:ext cx="4181479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File PGRR145 for Workshops and ROS review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3E81CBA3-4DD5-F3BE-D1FF-EDE4DC805B8C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1646232" y="4846638"/>
            <a:ext cx="3925889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Endorse PGRR145 for advancement to TAC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21D2684F-9AC7-2693-4CF6-55201C91496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1646232" y="5148263"/>
            <a:ext cx="4173539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Review/endorse combined NPRR/PGRR package for Board approval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7A2A8917-3AEA-16AD-5AB8-B6CC827E79B5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1646232" y="5446713"/>
            <a:ext cx="413385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Consideration Batch Zero NPRR/PGRR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4BDC9E0B-9D05-B4AC-AB1B-925FD91FC357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6469705" y="2284413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LLWG</a:t>
            </a:r>
            <a:r>
              <a:rPr lang="en-US" sz="800" b="0">
                <a:solidFill>
                  <a:schemeClr val="tx1"/>
                </a:solidFill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2ED646B3-9837-5FD1-959B-9A3F9C21AF94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6655962" y="254000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7BD4644B-E9BC-EE8F-9D7A-C2D96AEF5143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9580562" y="5095875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TAC Vote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 b="0">
                <a:solidFill>
                  <a:schemeClr val="tx1"/>
                </a:solidFill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5B4CAC6-B58F-3C08-1911-3071FFFDF2BA}"/>
              </a:ext>
            </a:extLst>
          </p:cNvPr>
          <p:cNvCxnSpPr>
            <a:cxnSpLocks/>
          </p:cNvCxnSpPr>
          <p:nvPr/>
        </p:nvCxnSpPr>
        <p:spPr>
          <a:xfrm>
            <a:off x="3609176" y="2857500"/>
            <a:ext cx="0" cy="97948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607B7A0-6E46-52CE-B0AE-12DD1160EEC8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1646232" y="3116263"/>
            <a:ext cx="3925889" cy="4619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000" b="0">
                <a:solidFill>
                  <a:schemeClr val="tx1"/>
                </a:solidFill>
              </a:rPr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29601FA-F4BD-9F17-E168-C976F975C792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8801056" y="5780088"/>
            <a:ext cx="703798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 b="0">
                <a:solidFill>
                  <a:srgbClr val="000000"/>
                </a:solidFill>
              </a:rPr>
              <a:t>Target Board approval date</a:t>
            </a:r>
            <a:endParaRPr lang="en-US" sz="800" b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3D5B04-977D-D66C-40D8-B242C339FFB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>
          <a:xfrm>
            <a:off x="7523842" y="5408613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Board  Meeting </a:t>
            </a:r>
            <a:r>
              <a:rPr lang="en-US" sz="800" b="0">
                <a:solidFill>
                  <a:schemeClr val="tx1"/>
                </a:solidFill>
              </a:rPr>
              <a:t>4/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86D68C-9392-67FF-D836-E623DD5CFCC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>
          <a:xfrm>
            <a:off x="7369439" y="3938588"/>
            <a:ext cx="647878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egular PRS </a:t>
            </a:r>
            <a:r>
              <a:rPr lang="en-US" sz="800" b="0">
                <a:solidFill>
                  <a:schemeClr val="tx1"/>
                </a:solidFill>
              </a:rPr>
              <a:t>4/1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FD6DD0-043E-7EAC-1DF6-FC9CBA18B166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>
          <a:xfrm>
            <a:off x="7849954" y="45116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OS Update </a:t>
            </a:r>
            <a:r>
              <a:rPr lang="en-US" sz="800" b="0">
                <a:solidFill>
                  <a:schemeClr val="tx1"/>
                </a:solidFill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60B3DA-B2FD-A373-04EF-F9CB6741B967}"/>
              </a:ext>
            </a:extLst>
          </p:cNvPr>
          <p:cNvSpPr/>
          <p:nvPr/>
        </p:nvSpPr>
        <p:spPr>
          <a:xfrm>
            <a:off x="6289303" y="5116513"/>
            <a:ext cx="1464226" cy="212725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>
                <a:solidFill>
                  <a:schemeClr val="tx1"/>
                </a:solidFill>
              </a:rPr>
              <a:t>Monthly TAC updates</a:t>
            </a:r>
            <a:endParaRPr lang="en-US" sz="8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C83948-2CDE-ECE3-10F2-76C413198C61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>
          <a:xfrm>
            <a:off x="7960404" y="3648075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r"/>
            <a:r>
              <a:rPr lang="en-US" sz="800">
                <a:solidFill>
                  <a:schemeClr val="tx1"/>
                </a:solidFill>
              </a:rPr>
              <a:t>Workshop </a:t>
            </a:r>
            <a:r>
              <a:rPr lang="en-US" sz="800" b="0">
                <a:solidFill>
                  <a:schemeClr val="tx1"/>
                </a:solidFill>
              </a:rPr>
              <a:t>#7 Apr 9</a:t>
            </a:r>
            <a:endParaRPr lang="en-US" sz="800" b="0" i="1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9364343-F502-9EE5-3C3B-28CF18486234}"/>
              </a:ext>
            </a:extLst>
          </p:cNvPr>
          <p:cNvSpPr txBox="1">
            <a:spLocks/>
          </p:cNvSpPr>
          <p:nvPr/>
        </p:nvSpPr>
        <p:spPr>
          <a:xfrm>
            <a:off x="554736" y="985491"/>
            <a:ext cx="11082528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i="1">
                <a:solidFill>
                  <a:schemeClr val="accent2"/>
                </a:solidFill>
              </a:rPr>
              <a:t>Note that TAC leadership is involved in considering options to ensure successful review and approva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865DCFF-05E2-801A-0F1A-530F7F750DA0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>
          <a:xfrm>
            <a:off x="8515877" y="39274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Special PRS </a:t>
            </a:r>
            <a:r>
              <a:rPr lang="en-US" sz="800" b="0">
                <a:solidFill>
                  <a:schemeClr val="tx1"/>
                </a:solidFill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CBE5CD8-F93A-FF3E-65EE-8726A72C230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>
          <a:xfrm>
            <a:off x="7777654" y="5105400"/>
            <a:ext cx="642267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Regular TAC </a:t>
            </a:r>
            <a:r>
              <a:rPr lang="en-US" sz="800" b="0">
                <a:solidFill>
                  <a:schemeClr val="tx1"/>
                </a:solidFill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E1981F4-A54B-1792-15FB-5BC9E08BB560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>
          <a:xfrm>
            <a:off x="8768139" y="5314950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Special TAC </a:t>
            </a:r>
            <a:r>
              <a:rPr lang="en-US" sz="800" b="0">
                <a:solidFill>
                  <a:schemeClr val="tx1"/>
                </a:solidFill>
              </a:rPr>
              <a:t>5/1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BBB18E4-9AAB-E750-6130-EFD4C16A5FB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>
          <a:xfrm>
            <a:off x="8962847" y="4229100"/>
            <a:ext cx="647878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800">
                <a:solidFill>
                  <a:schemeClr val="tx1"/>
                </a:solidFill>
              </a:rPr>
              <a:t> PRS Vote</a:t>
            </a:r>
            <a:br>
              <a:rPr lang="en-US" sz="800">
                <a:solidFill>
                  <a:schemeClr val="tx1"/>
                </a:solidFill>
                <a:cs typeface="Arial"/>
              </a:rPr>
            </a:br>
            <a:r>
              <a:rPr lang="en-US" sz="800" b="0">
                <a:solidFill>
                  <a:schemeClr val="tx1"/>
                </a:solidFill>
              </a:rPr>
              <a:t>5</a:t>
            </a:r>
            <a:r>
              <a:rPr lang="en-US" sz="800">
                <a:solidFill>
                  <a:schemeClr val="tx1"/>
                </a:solidFill>
              </a:rPr>
              <a:t>/</a:t>
            </a:r>
            <a:r>
              <a:rPr lang="en-US" sz="800" b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86BF6B-D76A-E8D4-DF4E-AA948F6331D1}"/>
              </a:ext>
            </a:extLst>
          </p:cNvPr>
          <p:cNvSpPr/>
          <p:nvPr/>
        </p:nvSpPr>
        <p:spPr>
          <a:xfrm>
            <a:off x="6989913" y="2286000"/>
            <a:ext cx="1674270" cy="22701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>
                <a:solidFill>
                  <a:schemeClr val="tx1"/>
                </a:solidFill>
              </a:rPr>
              <a:t>Monthly LLWG updates</a:t>
            </a:r>
            <a:endParaRPr lang="en-US" sz="8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F17A88B-D176-712F-0AEB-CB8BCA918676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>
          <a:xfrm>
            <a:off x="7321341" y="5929313"/>
            <a:ext cx="1030432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algn="ctr"/>
            <a:r>
              <a:rPr lang="en-US" sz="800" b="0">
                <a:solidFill>
                  <a:srgbClr val="000000"/>
                </a:solidFill>
              </a:rPr>
              <a:t>Apr (TBD) </a:t>
            </a:r>
            <a:r>
              <a:rPr lang="en-US" sz="800">
                <a:solidFill>
                  <a:srgbClr val="000000"/>
                </a:solidFill>
              </a:rPr>
              <a:t> </a:t>
            </a:r>
            <a:r>
              <a:rPr lang="en-US" sz="800" b="0">
                <a:solidFill>
                  <a:srgbClr val="000000"/>
                </a:solidFill>
              </a:rPr>
              <a:t>ERCOT files CLR/BYOG Revision Request(s)</a:t>
            </a:r>
            <a:endParaRPr lang="en-US" sz="8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54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3DEC2-059F-7FD7-85E4-917F6FB9A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1E98D365-1B26-E8B5-6A28-F2D67ED20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3" progId="TCLayout.ActiveDocument.1">
                  <p:embed/>
                </p:oleObj>
              </mc:Choice>
              <mc:Fallback>
                <p:oleObj name="think-cell Slide" r:id="rId16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1E98D365-1B26-E8B5-6A28-F2D67ED20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AA2B72DA-31DA-C6EA-A329-D52700D0732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March </a:t>
            </a:r>
            <a:r>
              <a:rPr lang="en-US" dirty="0"/>
              <a:t>10 Workshop </a:t>
            </a:r>
            <a:r>
              <a:rPr lang="en-US"/>
              <a:t>#4 summary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C18020-23A8-26CC-4F86-CBD103EF5823}"/>
              </a:ext>
            </a:extLst>
          </p:cNvPr>
          <p:cNvGrpSpPr/>
          <p:nvPr/>
        </p:nvGrpSpPr>
        <p:grpSpPr>
          <a:xfrm>
            <a:off x="499324" y="1260186"/>
            <a:ext cx="11193353" cy="4337628"/>
            <a:chOff x="499324" y="1107675"/>
            <a:chExt cx="11193353" cy="433762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7511C15-320A-53B6-1101-28E25EAAAA14}"/>
                </a:ext>
              </a:extLst>
            </p:cNvPr>
            <p:cNvSpPr>
              <a:spLocks/>
            </p:cNvSpPr>
            <p:nvPr/>
          </p:nvSpPr>
          <p:spPr>
            <a:xfrm>
              <a:off x="499324" y="1107675"/>
              <a:ext cx="11193353" cy="4337628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5B37BFA8-2283-21DD-96C3-D8AE9C9FD412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1943129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17A8A82-8199-5A6B-FCE2-A34713067104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2655983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BA169AD-AA9D-2FA1-87E2-141C99DC83C4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3368837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7750FDA-88FF-09AC-860C-576E5F9C2132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4081691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729E02C2-981A-0CE5-A4CB-CF1BE4E77E03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4794545"/>
              <a:ext cx="11082528" cy="0"/>
            </a:xfrm>
            <a:prstGeom prst="line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rackerNumBlue 15">
              <a:extLst>
                <a:ext uri="{FF2B5EF4-FFF2-40B4-BE49-F238E27FC236}">
                  <a16:creationId xmlns:a16="http://schemas.microsoft.com/office/drawing/2014/main" id="{AFDB3E22-AF7E-CB49-5A43-90A891F2610A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554735" y="1309703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76E5593-D516-F7CD-1D7B-08BFBCC4C532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1309703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>
                  <a:solidFill>
                    <a:srgbClr val="000000"/>
                  </a:solidFill>
                </a:rPr>
                <a:t>Timeline and governance recap</a:t>
              </a: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388EF83-1A42-EF78-4765-6EA262091F61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3924728" y="1309703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Update on timeline and key workshop dat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utline PRS/ROS/TAC pathways to June Board with key submission dates</a:t>
              </a:r>
            </a:p>
          </p:txBody>
        </p:sp>
        <p:sp>
          <p:nvSpPr>
            <p:cNvPr id="52" name="TrackerNumBlue 15">
              <a:extLst>
                <a:ext uri="{FF2B5EF4-FFF2-40B4-BE49-F238E27FC236}">
                  <a16:creationId xmlns:a16="http://schemas.microsoft.com/office/drawing/2014/main" id="{69C436A2-772C-0DEE-E3D9-6F6363807AA3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554735" y="2022557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2DA6185-310A-6D76-9779-EC2B453DE937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2022557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</a:rPr>
                <a:t>Stakeholder Survey Feedback and FAQ</a:t>
              </a:r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48B67FB-8ECA-A668-2FDC-2B6433993580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3924728" y="2022557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FAQs and common stakeholder questions, including ERCOT respons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results from the stakeholder feedback survey and key themes emerging</a:t>
              </a:r>
            </a:p>
          </p:txBody>
        </p:sp>
        <p:sp>
          <p:nvSpPr>
            <p:cNvPr id="56" name="TrackerNumBlue 15">
              <a:extLst>
                <a:ext uri="{FF2B5EF4-FFF2-40B4-BE49-F238E27FC236}">
                  <a16:creationId xmlns:a16="http://schemas.microsoft.com/office/drawing/2014/main" id="{88ACB693-DA74-EB0B-C79E-1CD42558F095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554735" y="2735411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CD96B6B-95AC-E73D-23BB-0FA552C66181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2735411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Batch Zero PGRR/NPRR Walk-though 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F5342B8-7DE3-2F3B-0572-A853E70D8799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924728" y="2735411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view February 26 slides and highlight key updates since the last version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Walk through proposed PGRR language and relevant sections for alignment</a:t>
              </a:r>
            </a:p>
          </p:txBody>
        </p:sp>
        <p:sp>
          <p:nvSpPr>
            <p:cNvPr id="60" name="TrackerNumBlue 15">
              <a:extLst>
                <a:ext uri="{FF2B5EF4-FFF2-40B4-BE49-F238E27FC236}">
                  <a16:creationId xmlns:a16="http://schemas.microsoft.com/office/drawing/2014/main" id="{48DD59C6-611C-E1A6-6D2A-C738508CDADE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554735" y="3448265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3434686-1186-CA08-2ECB-977AEFD47A19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3448265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Market Comments filed on NPRR/PGRR (if any)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26402F-BE40-7609-0EDA-C4586D6AEA2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924728" y="3448265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pen discussion: stakeholder comments, initial requests, and areas requiring refinement after filing</a:t>
              </a:r>
            </a:p>
          </p:txBody>
        </p:sp>
        <p:sp>
          <p:nvSpPr>
            <p:cNvPr id="67" name="TrackerNumBlue 15">
              <a:extLst>
                <a:ext uri="{FF2B5EF4-FFF2-40B4-BE49-F238E27FC236}">
                  <a16:creationId xmlns:a16="http://schemas.microsoft.com/office/drawing/2014/main" id="{6567D38E-AF7C-98F2-8BAD-4818834D4D6B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54735" y="4161119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0413AB8-88BA-EC68-5BB7-F0BF4F06B19E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4161119"/>
              <a:ext cx="2655391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/>
                <a:t>Discussion of CLR and BYOG concepts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E6F81F6-FC75-2BEF-6806-336223055479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3924728" y="4161119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Resume discussion on treatment of CLR and BYOG (</a:t>
              </a:r>
              <a:r>
                <a:rPr lang="en-US" i="1"/>
                <a:t>note that LLWG on Mar 13</a:t>
              </a:r>
              <a:r>
                <a:rPr lang="en-US" i="1" baseline="30000"/>
                <a:t>th</a:t>
              </a:r>
              <a:r>
                <a:rPr lang="en-US" i="1"/>
                <a:t> will focus on these topics</a:t>
              </a:r>
              <a:r>
                <a:rPr lang="en-US"/>
                <a:t>)</a:t>
              </a:r>
            </a:p>
          </p:txBody>
        </p:sp>
        <p:sp>
          <p:nvSpPr>
            <p:cNvPr id="71" name="TrackerNumBlue 15">
              <a:extLst>
                <a:ext uri="{FF2B5EF4-FFF2-40B4-BE49-F238E27FC236}">
                  <a16:creationId xmlns:a16="http://schemas.microsoft.com/office/drawing/2014/main" id="{B436069C-B6F7-0575-A8D9-677DA80E3E58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554735" y="4873973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D4322BF-C4F9-C20A-6E4B-46B511C056B4}"/>
                </a:ext>
              </a:extLst>
            </p:cNvPr>
            <p:cNvSpPr txBox="1">
              <a:spLocks/>
            </p:cNvSpPr>
            <p:nvPr/>
          </p:nvSpPr>
          <p:spPr>
            <a:xfrm>
              <a:off x="1022757" y="4873973"/>
              <a:ext cx="2655391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</a:rPr>
                <a:t>Q&amp;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0E94C21-C627-6090-3CAD-8075312771D1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3924728" y="4873973"/>
              <a:ext cx="771253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pen forum for Batch Zero concerns, comments, and sugges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7272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REPLAC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_HTJ5XYeJQAmJsjkwY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dBBbkYAfwWjcFTqisWG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kJnNjOlzXHLcvVKxt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2ImxRooahgmQCFgQ8GJ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._bFljrzV8vsS184TO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EC7"/>
      </a:accent1>
      <a:accent2>
        <a:srgbClr val="7C858C"/>
      </a:accent2>
      <a:accent3>
        <a:srgbClr val="26D07C"/>
      </a:accent3>
      <a:accent4>
        <a:srgbClr val="003865"/>
      </a:accent4>
      <a:accent5>
        <a:srgbClr val="685BC7"/>
      </a:accent5>
      <a:accent6>
        <a:srgbClr val="1F8B9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AEC7"/>
        </a:accent1>
        <a:accent2>
          <a:srgbClr val="7C858C"/>
        </a:accent2>
        <a:accent3>
          <a:srgbClr val="26D07C"/>
        </a:accent3>
        <a:accent4>
          <a:srgbClr val="003865"/>
        </a:accent4>
        <a:accent5>
          <a:srgbClr val="685BC7"/>
        </a:accent5>
        <a:accent6>
          <a:srgbClr val="1F8B9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E6EBF0"/>
    </a:custClr>
    <a:custClr name="Custom Color7">
      <a:srgbClr val="5B6770"/>
    </a:custClr>
  </a:custClrLst>
  <a:extLst>
    <a:ext uri="{05A4C25C-085E-4340-85A3-A5531E510DB2}">
      <thm15:themeFamily xmlns:thm15="http://schemas.microsoft.com/office/thememl/2012/main" name="8595HP01_CF_16x9_ENG_V1.potx" id="{42F32C14-58EC-47D9-9028-847CDCF2A67E}" vid="{9AF27E40-36C6-4524-B55C-2496A44DAD24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F8B9D"/>
      </a:lt1>
      <a:dk2>
        <a:srgbClr val="000000"/>
      </a:dk2>
      <a:lt2>
        <a:srgbClr val="000000"/>
      </a:lt2>
      <a:accent1>
        <a:srgbClr val="FFFFFF"/>
      </a:accent1>
      <a:accent2>
        <a:srgbClr val="00AEC7"/>
      </a:accent2>
      <a:accent3>
        <a:srgbClr val="7C858C"/>
      </a:accent3>
      <a:accent4>
        <a:srgbClr val="26D07C"/>
      </a:accent4>
      <a:accent5>
        <a:srgbClr val="003865"/>
      </a:accent5>
      <a:accent6>
        <a:srgbClr val="685BC7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F8B9D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EC7"/>
        </a:accent2>
        <a:accent3>
          <a:srgbClr val="7C858C"/>
        </a:accent3>
        <a:accent4>
          <a:srgbClr val="26D07C"/>
        </a:accent4>
        <a:accent5>
          <a:srgbClr val="003865"/>
        </a:accent5>
        <a:accent6>
          <a:srgbClr val="685BC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E6EBF0"/>
    </a:custClr>
    <a:custClr name="Custom Color7">
      <a:srgbClr val="5B6770"/>
    </a:custClr>
  </a:custClrLst>
  <a:extLst>
    <a:ext uri="{05A4C25C-085E-4340-85A3-A5531E510DB2}">
      <thm15:themeFamily xmlns:thm15="http://schemas.microsoft.com/office/thememl/2012/main" name="8595HP01_CF_16x9_ENG_V1.potx" id="{42F32C14-58EC-47D9-9028-847CDCF2A67E}" vid="{DD447390-42C6-4045-A404-EE24DB9FFF3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F5CCB3-C396-4DE2-9FB3-96518FFD5FED}">
  <ds:schemaRefs>
    <ds:schemaRef ds:uri="http://schemas.microsoft.com/office/infopath/2007/PartnerControls"/>
    <ds:schemaRef ds:uri="http://purl.org/dc/terms/"/>
    <ds:schemaRef ds:uri="http://purl.org/dc/dcmitype/"/>
    <ds:schemaRef ds:uri="http://schemas.microsoft.com/office/2006/metadata/properties"/>
    <ds:schemaRef ds:uri="f419a087-1e80-495d-85c4-486fa6b09cae"/>
    <ds:schemaRef ds:uri="http://www.w3.org/XML/1998/namespace"/>
    <ds:schemaRef ds:uri="http://schemas.microsoft.com/office/2006/documentManagement/types"/>
    <ds:schemaRef ds:uri="http://purl.org/dc/elements/1.1/"/>
    <ds:schemaRef ds:uri="c37ac4fa-902d-4f29-bbdc-3877ea87d1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3F14045A-A9D2-430D-97C7-592E529A72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5D0D58-1AA6-43E0-91B7-100F216DF9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9a087-1e80-495d-85c4-486fa6b09cae"/>
    <ds:schemaRef ds:uri="c37ac4fa-902d-4f29-bbdc-3877ea87d1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3133</TotalTime>
  <Words>905</Words>
  <Application>Microsoft Office PowerPoint</Application>
  <PresentationFormat>Widescreen</PresentationFormat>
  <Paragraphs>157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Georgia</vt:lpstr>
      <vt:lpstr>Segoe UI</vt:lpstr>
      <vt:lpstr>Arial</vt:lpstr>
      <vt:lpstr>Wingdings</vt:lpstr>
      <vt:lpstr>White</vt:lpstr>
      <vt:lpstr>Contrast</vt:lpstr>
      <vt:lpstr>think-cell Slide</vt:lpstr>
      <vt:lpstr>PRS update on  Large Load Interconnection Batch Study Workshops</vt:lpstr>
      <vt:lpstr>The batch study process increases outcome certainty and transparency while limiting restudy risk</vt:lpstr>
      <vt:lpstr>Insights from a multi-channel stakeholder engagement effort enabled a comprehensive view of stakeholder alignment and open questions</vt:lpstr>
      <vt:lpstr>Batch Zero revision request timeline</vt:lpstr>
      <vt:lpstr>March 10 Workshop #4 summar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Charlotte Fletcher</dc:creator>
  <cp:keywords/>
  <dc:description/>
  <cp:lastModifiedBy>Mereness, Matt</cp:lastModifiedBy>
  <cp:revision>55</cp:revision>
  <dcterms:created xsi:type="dcterms:W3CDTF">2026-01-22T04:18:53Z</dcterms:created>
  <dcterms:modified xsi:type="dcterms:W3CDTF">2026-03-09T17:23:5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1-09-23 06:12 PM</vt:lpwstr>
  </property>
  <property fmtid="{D5CDD505-2E9C-101B-9397-08002B2CF9AE}" pid="3" name="ContentTypeId">
    <vt:lpwstr>0x0101003CD0E9D229717A45A0F014C745A02018</vt:lpwstr>
  </property>
  <property fmtid="{D5CDD505-2E9C-101B-9397-08002B2CF9AE}" pid="4" name="MediaServiceImageTags">
    <vt:lpwstr/>
  </property>
  <property fmtid="{D5CDD505-2E9C-101B-9397-08002B2CF9AE}" pid="5" name="MSIP_Label_83303d7c-e5a3-4cc8-90eb-69bfd7570ac4_Enabled">
    <vt:lpwstr>True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SetDate">
    <vt:lpwstr>2026-01-22T04:26:02Z</vt:lpwstr>
  </property>
  <property fmtid="{D5CDD505-2E9C-101B-9397-08002B2CF9AE}" pid="8" name="MSIP_Label_83303d7c-e5a3-4cc8-90eb-69bfd7570ac4_Name">
    <vt:lpwstr>Client \ Client Confidential</vt:lpwstr>
  </property>
  <property fmtid="{D5CDD505-2E9C-101B-9397-08002B2CF9AE}" pid="9" name="MSIP_Label_83303d7c-e5a3-4cc8-90eb-69bfd7570ac4_ActionId">
    <vt:lpwstr>8052f952-a511-4478-852e-dadf1c64a4db</vt:lpwstr>
  </property>
  <property fmtid="{D5CDD505-2E9C-101B-9397-08002B2CF9AE}" pid="10" name="MSIP_Label_83303d7c-e5a3-4cc8-90eb-69bfd7570ac4_Removed">
    <vt:lpwstr>False</vt:lpwstr>
  </property>
  <property fmtid="{D5CDD505-2E9C-101B-9397-08002B2CF9AE}" pid="11" name="MSIP_Label_83303d7c-e5a3-4cc8-90eb-69bfd7570ac4_Parent">
    <vt:lpwstr>41a75552-f860-45e1-90d5-c0b4fc08c5e4</vt:lpwstr>
  </property>
  <property fmtid="{D5CDD505-2E9C-101B-9397-08002B2CF9AE}" pid="12" name="MSIP_Label_83303d7c-e5a3-4cc8-90eb-69bfd7570ac4_Extended_MSFT_Method">
    <vt:lpwstr>Standard</vt:lpwstr>
  </property>
  <property fmtid="{D5CDD505-2E9C-101B-9397-08002B2CF9AE}" pid="13" name="MSIP_Label_fec09dec-a9ce-4322-b578-b49052c992d8_Enabled">
    <vt:lpwstr>true</vt:lpwstr>
  </property>
  <property fmtid="{D5CDD505-2E9C-101B-9397-08002B2CF9AE}" pid="14" name="MSIP_Label_fec09dec-a9ce-4322-b578-b49052c992d8_SetDate">
    <vt:lpwstr>2026-02-18T04:19:00Z</vt:lpwstr>
  </property>
  <property fmtid="{D5CDD505-2E9C-101B-9397-08002B2CF9AE}" pid="15" name="MSIP_Label_fec09dec-a9ce-4322-b578-b49052c992d8_Method">
    <vt:lpwstr>Privileged</vt:lpwstr>
  </property>
  <property fmtid="{D5CDD505-2E9C-101B-9397-08002B2CF9AE}" pid="16" name="MSIP_Label_fec09dec-a9ce-4322-b578-b49052c992d8_Name">
    <vt:lpwstr>Firm Confidential Information-SLV1</vt:lpwstr>
  </property>
  <property fmtid="{D5CDD505-2E9C-101B-9397-08002B2CF9AE}" pid="17" name="MSIP_Label_fec09dec-a9ce-4322-b578-b49052c992d8_SiteId">
    <vt:lpwstr>cc8936bc-9382-4fff-87cb-6f55999549e7</vt:lpwstr>
  </property>
  <property fmtid="{D5CDD505-2E9C-101B-9397-08002B2CF9AE}" pid="18" name="MSIP_Label_fec09dec-a9ce-4322-b578-b49052c992d8_ActionId">
    <vt:lpwstr>f19bf25e-99ca-4172-94d7-2edd03187cc0</vt:lpwstr>
  </property>
  <property fmtid="{D5CDD505-2E9C-101B-9397-08002B2CF9AE}" pid="19" name="MSIP_Label_fec09dec-a9ce-4322-b578-b49052c992d8_ContentBits">
    <vt:lpwstr>0</vt:lpwstr>
  </property>
  <property fmtid="{D5CDD505-2E9C-101B-9397-08002B2CF9AE}" pid="20" name="MSIP_Label_fec09dec-a9ce-4322-b578-b49052c992d8_Tag">
    <vt:lpwstr>10, 0, 1, 1</vt:lpwstr>
  </property>
  <property fmtid="{D5CDD505-2E9C-101B-9397-08002B2CF9AE}" pid="21" name="_dlc_DocIdItemGuid">
    <vt:lpwstr>afd9ae43-47f0-4c9d-a5f5-5c7e0d7b6b12</vt:lpwstr>
  </property>
  <property fmtid="{D5CDD505-2E9C-101B-9397-08002B2CF9AE}" pid="22" name="MSIP_Label_7084cbda-52b8-46fb-a7b7-cb5bd465ed85_Enabled">
    <vt:lpwstr>true</vt:lpwstr>
  </property>
  <property fmtid="{D5CDD505-2E9C-101B-9397-08002B2CF9AE}" pid="23" name="MSIP_Label_7084cbda-52b8-46fb-a7b7-cb5bd465ed85_SetDate">
    <vt:lpwstr>2026-02-24T12:27:52Z</vt:lpwstr>
  </property>
  <property fmtid="{D5CDD505-2E9C-101B-9397-08002B2CF9AE}" pid="24" name="MSIP_Label_7084cbda-52b8-46fb-a7b7-cb5bd465ed85_Method">
    <vt:lpwstr>Standard</vt:lpwstr>
  </property>
  <property fmtid="{D5CDD505-2E9C-101B-9397-08002B2CF9AE}" pid="25" name="MSIP_Label_7084cbda-52b8-46fb-a7b7-cb5bd465ed85_Name">
    <vt:lpwstr>Internal</vt:lpwstr>
  </property>
  <property fmtid="{D5CDD505-2E9C-101B-9397-08002B2CF9AE}" pid="26" name="MSIP_Label_7084cbda-52b8-46fb-a7b7-cb5bd465ed85_SiteId">
    <vt:lpwstr>0afb747d-bff7-4596-a9fc-950ef9e0ec45</vt:lpwstr>
  </property>
  <property fmtid="{D5CDD505-2E9C-101B-9397-08002B2CF9AE}" pid="27" name="MSIP_Label_7084cbda-52b8-46fb-a7b7-cb5bd465ed85_ActionId">
    <vt:lpwstr>70189226-55f5-4628-96f4-2cb796eaf0bc</vt:lpwstr>
  </property>
  <property fmtid="{D5CDD505-2E9C-101B-9397-08002B2CF9AE}" pid="28" name="MSIP_Label_7084cbda-52b8-46fb-a7b7-cb5bd465ed85_ContentBits">
    <vt:lpwstr>0</vt:lpwstr>
  </property>
  <property fmtid="{D5CDD505-2E9C-101B-9397-08002B2CF9AE}" pid="29" name="MSIP_Label_7084cbda-52b8-46fb-a7b7-cb5bd465ed85_Tag">
    <vt:lpwstr>10, 3, 0, 2</vt:lpwstr>
  </property>
</Properties>
</file>